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5.xml" ContentType="application/vnd.openxmlformats-officedocument.them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6.xml" ContentType="application/vnd.openxmlformats-officedocument.them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7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8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0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media/image31.jpg" ContentType="image/png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2" r:id="rId4"/>
    <p:sldMasterId id="2147483705" r:id="rId5"/>
    <p:sldMasterId id="2147483714" r:id="rId6"/>
    <p:sldMasterId id="2147483723" r:id="rId7"/>
    <p:sldMasterId id="2147483732" r:id="rId8"/>
    <p:sldMasterId id="2147483747" r:id="rId9"/>
    <p:sldMasterId id="2147483756" r:id="rId10"/>
    <p:sldMasterId id="2147483774" r:id="rId11"/>
    <p:sldMasterId id="2147483791" r:id="rId12"/>
    <p:sldMasterId id="2147483813" r:id="rId13"/>
    <p:sldMasterId id="2147483829" r:id="rId14"/>
  </p:sldMasterIdLst>
  <p:notesMasterIdLst>
    <p:notesMasterId r:id="rId37"/>
  </p:notesMasterIdLst>
  <p:sldIdLst>
    <p:sldId id="259" r:id="rId15"/>
    <p:sldId id="2134804341" r:id="rId16"/>
    <p:sldId id="2134804350" r:id="rId17"/>
    <p:sldId id="2134804342" r:id="rId18"/>
    <p:sldId id="2134804340" r:id="rId19"/>
    <p:sldId id="1802" r:id="rId20"/>
    <p:sldId id="1997" r:id="rId21"/>
    <p:sldId id="410" r:id="rId22"/>
    <p:sldId id="2134804170" r:id="rId23"/>
    <p:sldId id="2010" r:id="rId24"/>
    <p:sldId id="1971" r:id="rId25"/>
    <p:sldId id="2134804338" r:id="rId26"/>
    <p:sldId id="1991" r:id="rId27"/>
    <p:sldId id="2134804343" r:id="rId28"/>
    <p:sldId id="2134804344" r:id="rId29"/>
    <p:sldId id="2134804346" r:id="rId30"/>
    <p:sldId id="2134804345" r:id="rId31"/>
    <p:sldId id="2134804351" r:id="rId32"/>
    <p:sldId id="2134804348" r:id="rId33"/>
    <p:sldId id="2134804347" r:id="rId34"/>
    <p:sldId id="2134804349" r:id="rId35"/>
    <p:sldId id="260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5" pos="325" userDrawn="1">
          <p15:clr>
            <a:srgbClr val="A4A3A4"/>
          </p15:clr>
        </p15:guide>
        <p15:guide id="6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80C4"/>
    <a:srgbClr val="86BBEC"/>
    <a:srgbClr val="FFFFFF"/>
    <a:srgbClr val="AFD2F3"/>
    <a:srgbClr val="134778"/>
    <a:srgbClr val="1C6BB5"/>
    <a:srgbClr val="368EE0"/>
    <a:srgbClr val="E0E0E0"/>
    <a:srgbClr val="4B93D7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89728" autoAdjust="0"/>
  </p:normalViewPr>
  <p:slideViewPr>
    <p:cSldViewPr snapToGrid="0" snapToObjects="1">
      <p:cViewPr varScale="1">
        <p:scale>
          <a:sx n="57" d="100"/>
          <a:sy n="57" d="100"/>
        </p:scale>
        <p:origin x="1016" y="32"/>
      </p:cViewPr>
      <p:guideLst>
        <p:guide pos="325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8" d="100"/>
        <a:sy n="158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viewProps" Target="viewProps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C99C02-714A-BB49-B09D-051ECB5BC488}" type="datetimeFigureOut">
              <a:rPr lang="en-US" smtClean="0"/>
              <a:t>5/18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C25381E-49DF-2C4A-807A-EEA0612869B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3798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5381E-49DF-2C4A-807A-EEA0612869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80652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25381E-49DF-2C4A-807A-EEA0612869B2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572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495064-74D6-5442-9031-B6D19AC08B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0874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5381E-49DF-2C4A-807A-EEA0612869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17193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SG" dirty="0"/>
              <a:t>One of the strengths of Nallian is that implementing Cargo Community Systems at Airports is already for a decade our core business! We are active on 3 continents (even 4 if you consider Oceania a separate continent). A very strong presence in Europe with implementations and operations at Brussels, Liege, London Heathrow, Vienna and Ostend. But also in Asia (with Singapore and Melbourne) and America (Dallas and LA).</a:t>
            </a:r>
          </a:p>
          <a:p>
            <a:endParaRPr lang="en-SG" dirty="0"/>
          </a:p>
          <a:p>
            <a:r>
              <a:rPr lang="en-SG" dirty="0"/>
              <a:t>So we have learned a thing or 2 along the way… </a:t>
            </a:r>
            <a:r>
              <a:rPr lang="en-SG" dirty="0">
                <a:sym typeface="Wingdings" panose="05000000000000000000" pitchFamily="2" charset="2"/>
              </a:rPr>
              <a:t></a:t>
            </a:r>
            <a:endParaRPr lang="en-BE" dirty="0"/>
          </a:p>
          <a:p>
            <a:endParaRPr lang="en-SG" dirty="0"/>
          </a:p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5381E-49DF-2C4A-807A-EEA0612869B2}" type="slidenum">
              <a:rPr kumimoji="0" lang="en-US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04356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25381E-49DF-2C4A-807A-EEA0612869B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0120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25381E-49DF-2C4A-807A-EEA0612869B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644319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SG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C25381E-49DF-2C4A-807A-EEA0612869B2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155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jpe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8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Relationship Id="rId9" Type="http://schemas.openxmlformats.org/officeDocument/2006/relationships/image" Target="../media/image10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3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5" Type="http://schemas.openxmlformats.org/officeDocument/2006/relationships/tags" Target="../tags/tag36.xml"/><Relationship Id="rId4" Type="http://schemas.openxmlformats.org/officeDocument/2006/relationships/tags" Target="../tags/tag35.xml"/><Relationship Id="rId9" Type="http://schemas.openxmlformats.org/officeDocument/2006/relationships/image" Target="../media/image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6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10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71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tags" Target="../tags/tag74.xml"/><Relationship Id="rId5" Type="http://schemas.openxmlformats.org/officeDocument/2006/relationships/tags" Target="../tags/tag73.xml"/><Relationship Id="rId4" Type="http://schemas.openxmlformats.org/officeDocument/2006/relationships/tags" Target="../tags/tag72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00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6" Type="http://schemas.openxmlformats.org/officeDocument/2006/relationships/tags" Target="../tags/tag103.xml"/><Relationship Id="rId5" Type="http://schemas.openxmlformats.org/officeDocument/2006/relationships/tags" Target="../tags/tag102.xml"/><Relationship Id="rId4" Type="http://schemas.openxmlformats.org/officeDocument/2006/relationships/tags" Target="../tags/tag101.xml"/><Relationship Id="rId9" Type="http://schemas.openxmlformats.org/officeDocument/2006/relationships/image" Target="../media/image10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06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tags" Target="../tags/tag109.xml"/><Relationship Id="rId5" Type="http://schemas.openxmlformats.org/officeDocument/2006/relationships/tags" Target="../tags/tag108.xml"/><Relationship Id="rId4" Type="http://schemas.openxmlformats.org/officeDocument/2006/relationships/tags" Target="../tags/tag107.xml"/><Relationship Id="rId9" Type="http://schemas.openxmlformats.org/officeDocument/2006/relationships/image" Target="../media/image9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1.xml"/><Relationship Id="rId1" Type="http://schemas.openxmlformats.org/officeDocument/2006/relationships/tags" Target="../tags/tag110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37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tags" Target="../tags/tag140.xml"/><Relationship Id="rId5" Type="http://schemas.openxmlformats.org/officeDocument/2006/relationships/tags" Target="../tags/tag139.xml"/><Relationship Id="rId4" Type="http://schemas.openxmlformats.org/officeDocument/2006/relationships/tags" Target="../tags/tag138.xml"/><Relationship Id="rId9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4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tags" Target="../tags/tag146.xml"/><Relationship Id="rId5" Type="http://schemas.openxmlformats.org/officeDocument/2006/relationships/tags" Target="../tags/tag145.xml"/><Relationship Id="rId4" Type="http://schemas.openxmlformats.org/officeDocument/2006/relationships/tags" Target="../tags/tag144.xml"/><Relationship Id="rId9" Type="http://schemas.openxmlformats.org/officeDocument/2006/relationships/image" Target="../media/image9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8.xml"/><Relationship Id="rId1" Type="http://schemas.openxmlformats.org/officeDocument/2006/relationships/tags" Target="../tags/tag147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70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5" Type="http://schemas.openxmlformats.org/officeDocument/2006/relationships/tags" Target="../tags/tag172.xml"/><Relationship Id="rId4" Type="http://schemas.openxmlformats.org/officeDocument/2006/relationships/tags" Target="../tags/tag171.xml"/><Relationship Id="rId9" Type="http://schemas.openxmlformats.org/officeDocument/2006/relationships/image" Target="../media/image10.emf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76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5" Type="http://schemas.openxmlformats.org/officeDocument/2006/relationships/tags" Target="../tags/tag178.xml"/><Relationship Id="rId4" Type="http://schemas.openxmlformats.org/officeDocument/2006/relationships/tags" Target="../tags/tag177.xml"/><Relationship Id="rId9" Type="http://schemas.openxmlformats.org/officeDocument/2006/relationships/image" Target="../media/image9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1.xml"/><Relationship Id="rId1" Type="http://schemas.openxmlformats.org/officeDocument/2006/relationships/tags" Target="../tags/tag18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2" Type="http://schemas.openxmlformats.org/officeDocument/2006/relationships/image" Target="../media/image13.tiff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tiff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Relationship Id="rId4" Type="http://schemas.microsoft.com/office/2007/relationships/hdphoto" Target="../media/hdphoto1.wdp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1041305" y="6392432"/>
            <a:ext cx="1002913" cy="465567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B39F2A-CA5A-42E1-AC3C-0B2D14751A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8000"/>
          </a:blip>
          <a:srcRect r="20101"/>
          <a:stretch/>
        </p:blipFill>
        <p:spPr>
          <a:xfrm>
            <a:off x="4619" y="-5435"/>
            <a:ext cx="12192000" cy="6863434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A32F9A88-04DD-4AEF-A7FE-D3C1547530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55511" y="5822383"/>
            <a:ext cx="2015065" cy="71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221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	</a:t>
            </a:r>
          </a:p>
        </p:txBody>
      </p:sp>
    </p:spTree>
    <p:extLst>
      <p:ext uri="{BB962C8B-B14F-4D97-AF65-F5344CB8AC3E}">
        <p14:creationId xmlns:p14="http://schemas.microsoft.com/office/powerpoint/2010/main" val="96694893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	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2EC8C5-68CF-459F-B14E-8D8B1C80D02B}"/>
              </a:ext>
            </a:extLst>
          </p:cNvPr>
          <p:cNvSpPr/>
          <p:nvPr userDrawn="1"/>
        </p:nvSpPr>
        <p:spPr>
          <a:xfrm>
            <a:off x="10594521" y="6462635"/>
            <a:ext cx="1466850" cy="3953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8490516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EDEF380-D8D1-48F2-87ED-F50ADE634795}"/>
              </a:ext>
            </a:extLst>
          </p:cNvPr>
          <p:cNvSpPr/>
          <p:nvPr userDrawn="1"/>
        </p:nvSpPr>
        <p:spPr>
          <a:xfrm>
            <a:off x="526473" y="3834039"/>
            <a:ext cx="5324763" cy="2490265"/>
          </a:xfrm>
          <a:prstGeom prst="rect">
            <a:avLst/>
          </a:prstGeom>
          <a:solidFill>
            <a:srgbClr val="134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3DF882-6A3B-4245-9CE2-D37DB975C664}"/>
              </a:ext>
            </a:extLst>
          </p:cNvPr>
          <p:cNvSpPr/>
          <p:nvPr userDrawn="1"/>
        </p:nvSpPr>
        <p:spPr>
          <a:xfrm>
            <a:off x="524161" y="1175624"/>
            <a:ext cx="5324763" cy="24902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911" y="1283001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2C99BC-27CE-44CD-8C8D-57195B3BB4A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38909" y="3947289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6C80C4-0381-43CF-88C2-BFC8A8232E79}"/>
              </a:ext>
            </a:extLst>
          </p:cNvPr>
          <p:cNvSpPr/>
          <p:nvPr userDrawn="1"/>
        </p:nvSpPr>
        <p:spPr>
          <a:xfrm>
            <a:off x="6340764" y="3834039"/>
            <a:ext cx="5324763" cy="2490265"/>
          </a:xfrm>
          <a:prstGeom prst="rect">
            <a:avLst/>
          </a:prstGeom>
          <a:solidFill>
            <a:srgbClr val="86B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431544-0A64-4740-999F-FC0687408957}"/>
              </a:ext>
            </a:extLst>
          </p:cNvPr>
          <p:cNvSpPr/>
          <p:nvPr userDrawn="1"/>
        </p:nvSpPr>
        <p:spPr>
          <a:xfrm>
            <a:off x="6338452" y="1175624"/>
            <a:ext cx="5324763" cy="2490265"/>
          </a:xfrm>
          <a:prstGeom prst="rect">
            <a:avLst/>
          </a:prstGeom>
          <a:solidFill>
            <a:srgbClr val="1C6B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25EDC9A-D9A7-47BD-80B3-CD399DF078E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553202" y="1283001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lang="en-US" sz="24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lang="en-US" sz="20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lang="en-US" sz="18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E1695E-29AC-4B47-A41F-B915368B436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553200" y="3947289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61256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0506075" y="6400800"/>
            <a:ext cx="1566182" cy="457199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4283" y="2284127"/>
            <a:ext cx="11312435" cy="1125825"/>
          </a:xfrm>
        </p:spPr>
        <p:txBody>
          <a:bodyPr>
            <a:normAutofit/>
          </a:bodyPr>
          <a:lstStyle>
            <a:lvl1pPr marL="0" indent="0" algn="l">
              <a:buNone/>
              <a:defRPr sz="24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| Function </a:t>
            </a:r>
          </a:p>
          <a:p>
            <a:r>
              <a:rPr lang="en-US" dirty="0"/>
              <a:t>Email  | Phon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44286" y="356377"/>
            <a:ext cx="11312434" cy="1604161"/>
          </a:xfrm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Questions?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16EC357-05FF-47CD-A75D-F402970876D2}"/>
              </a:ext>
            </a:extLst>
          </p:cNvPr>
          <p:cNvSpPr txBox="1">
            <a:spLocks/>
          </p:cNvSpPr>
          <p:nvPr userDrawn="1"/>
        </p:nvSpPr>
        <p:spPr>
          <a:xfrm>
            <a:off x="544286" y="5193640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gium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Ucargo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ningi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zabethlaa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706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30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chelen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0B50D3-F3FB-425A-BBDD-8AA37F846259}"/>
              </a:ext>
            </a:extLst>
          </p:cNvPr>
          <p:cNvSpPr txBox="1">
            <a:spLocks/>
          </p:cNvSpPr>
          <p:nvPr userDrawn="1"/>
        </p:nvSpPr>
        <p:spPr>
          <a:xfrm>
            <a:off x="3028407" y="5204526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gapore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 Battery Road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nk of China Building #25-01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49908 Singapo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76F25A5-E6D0-4B19-95FA-4660577D68F7}"/>
              </a:ext>
            </a:extLst>
          </p:cNvPr>
          <p:cNvSpPr txBox="1">
            <a:spLocks/>
          </p:cNvSpPr>
          <p:nvPr userDrawn="1"/>
        </p:nvSpPr>
        <p:spPr>
          <a:xfrm>
            <a:off x="5741125" y="5193638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il us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raaive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7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140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erbergen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giu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4842E9B-7192-4F95-80C7-503177476FEB}"/>
              </a:ext>
            </a:extLst>
          </p:cNvPr>
          <p:cNvSpPr txBox="1">
            <a:spLocks/>
          </p:cNvSpPr>
          <p:nvPr userDrawn="1"/>
        </p:nvSpPr>
        <p:spPr>
          <a:xfrm>
            <a:off x="544283" y="4560953"/>
            <a:ext cx="2788921" cy="3712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nallian.com</a:t>
            </a:r>
            <a:endParaRPr lang="en-US" sz="14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6DBC546C-732D-4902-82E6-B1E907AAC1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93853" y="5597966"/>
            <a:ext cx="2562867" cy="9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5751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AF5107-3FB4-415C-A5ED-11F8CBCCE7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F1EE973D-AB5C-4E7D-8F16-54D0976203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40679C40-68DF-4348-974A-0CC4221D64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7A9206B-70A1-4453-8D99-1959ED6D25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2998B-94B2-4D3C-A885-E4BBFE47B8DE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932054224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00BC3E2-C181-D3B0-D8D9-7461ABA194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A9498489-C4B0-BFCD-DC72-C2081092AB8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CF7E3674-0DE5-9605-A7F9-CDD3EA4C6A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20412127-8B88-2678-E708-10A30AE0BB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EE5E32F2-6788-D1DA-97F6-15456CA3E7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BB2F48-73D7-4A92-9BFD-AF4DCD1138B3}" type="slidenum">
              <a:rPr kumimoji="1" lang="ja-JP" altLang="en-US" smtClean="0"/>
              <a:t>‹nr.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139786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1041305" y="6392432"/>
            <a:ext cx="1002913" cy="465567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B39F2A-CA5A-42E1-AC3C-0B2D14751A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8000"/>
          </a:blip>
          <a:srcRect r="20101"/>
          <a:stretch/>
        </p:blipFill>
        <p:spPr>
          <a:xfrm>
            <a:off x="4619" y="-5435"/>
            <a:ext cx="12192000" cy="6863434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A32F9A88-04DD-4AEF-A7FE-D3C1547530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55511" y="5822383"/>
            <a:ext cx="2015065" cy="71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46336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0506075" y="6400800"/>
            <a:ext cx="1566182" cy="457199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25875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accent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0E0EBF-AC19-4496-9893-75049A611331}"/>
              </a:ext>
            </a:extLst>
          </p:cNvPr>
          <p:cNvSpPr/>
          <p:nvPr userDrawn="1"/>
        </p:nvSpPr>
        <p:spPr>
          <a:xfrm>
            <a:off x="10929257" y="6411686"/>
            <a:ext cx="1153886" cy="3701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5533271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11322630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7408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right,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F24E52-FAFD-4817-8755-ACFC85ED566F}"/>
              </a:ext>
            </a:extLst>
          </p:cNvPr>
          <p:cNvSpPr/>
          <p:nvPr userDrawn="1"/>
        </p:nvSpPr>
        <p:spPr>
          <a:xfrm>
            <a:off x="7897091" y="0"/>
            <a:ext cx="429490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7012421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7012421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95F177-DB51-4E48-AB31-916641C04E4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21964" y="1699491"/>
            <a:ext cx="3511839" cy="4553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tabLst>
                <a:tab pos="0" algn="l"/>
              </a:tabLst>
              <a:defRPr sz="2400" b="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3F3F1C5-1BFB-40C1-88CD-3E74484893FC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21964" y="378690"/>
            <a:ext cx="3511839" cy="1108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tabLst>
                <a:tab pos="0" algn="l"/>
              </a:tabLst>
              <a:defRPr sz="280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2475484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	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2EC8C5-68CF-459F-B14E-8D8B1C80D02B}"/>
              </a:ext>
            </a:extLst>
          </p:cNvPr>
          <p:cNvSpPr/>
          <p:nvPr userDrawn="1"/>
        </p:nvSpPr>
        <p:spPr>
          <a:xfrm>
            <a:off x="10594521" y="6462635"/>
            <a:ext cx="1466850" cy="3953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0601358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right,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0"/>
            <a:ext cx="8372474" cy="685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None/>
              <a:defRPr/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3007D1B-12FC-4602-8C11-DEB7C8CA96AC}"/>
              </a:ext>
            </a:extLst>
          </p:cNvPr>
          <p:cNvSpPr/>
          <p:nvPr userDrawn="1"/>
        </p:nvSpPr>
        <p:spPr>
          <a:xfrm>
            <a:off x="7897091" y="0"/>
            <a:ext cx="429490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1E4721E-B437-4B1D-87BA-01AB5C8C87B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21964" y="1699491"/>
            <a:ext cx="3511839" cy="4553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tabLst>
                <a:tab pos="0" algn="l"/>
              </a:tabLst>
              <a:defRPr sz="2400" b="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D67E20-D364-415C-9E68-599480FF08C2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21964" y="378690"/>
            <a:ext cx="3511839" cy="1108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tabLst>
                <a:tab pos="0" algn="l"/>
              </a:tabLst>
              <a:defRPr sz="280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108895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,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7012421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7012421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031159-0A02-4A3D-9253-450EC341EB1B}"/>
              </a:ext>
            </a:extLst>
          </p:cNvPr>
          <p:cNvSpPr/>
          <p:nvPr userDrawn="1"/>
        </p:nvSpPr>
        <p:spPr>
          <a:xfrm>
            <a:off x="10880436" y="6336145"/>
            <a:ext cx="1209964" cy="4433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95F177-DB51-4E48-AB31-916641C04E4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897092" y="0"/>
            <a:ext cx="4294908" cy="6857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buNone/>
              <a:tabLst>
                <a:tab pos="0" algn="l"/>
              </a:tabLst>
              <a:defRPr sz="2400" b="0" spc="0">
                <a:solidFill>
                  <a:schemeClr val="bg1"/>
                </a:solidFill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4907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2124076"/>
            <a:ext cx="5307060" cy="4341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0989403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A49AA2-D478-48B9-8E3A-C869556902A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08816" y="2125837"/>
            <a:ext cx="5307060" cy="4349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4663DE2-CAE1-4CAF-8065-E4A1C965887B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4350" y="1253408"/>
            <a:ext cx="5320364" cy="7373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ctr">
              <a:buNone/>
              <a:tabLst>
                <a:tab pos="0" algn="l"/>
              </a:tabLst>
              <a:defRPr b="1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81C4BA-E562-45B0-B4B3-98BB36C3112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08816" y="1255170"/>
            <a:ext cx="5307060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buNone/>
              <a:defRPr lang="en-US" sz="24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2358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4" y="2124076"/>
            <a:ext cx="3537526" cy="4257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A49AA2-D478-48B9-8E3A-C869556902A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16959" y="2125837"/>
            <a:ext cx="3537526" cy="42657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4663DE2-CAE1-4CAF-8065-E4A1C965887B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14351" y="1253408"/>
            <a:ext cx="3546394" cy="7373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ctr">
              <a:buNone/>
              <a:tabLst>
                <a:tab pos="0" algn="l"/>
              </a:tabLst>
              <a:defRPr sz="2800" b="1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81C4BA-E562-45B0-B4B3-98BB36C3112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416959" y="1255170"/>
            <a:ext cx="3537526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28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tex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F28918F-61B9-4FDC-8D81-0457C0B00CE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16009" y="2125837"/>
            <a:ext cx="3537526" cy="42657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ACCF3E8-8ED6-41EC-9191-C121253B769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16009" y="1252024"/>
            <a:ext cx="3537526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28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5349802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	</a:t>
            </a:r>
          </a:p>
        </p:txBody>
      </p:sp>
    </p:spTree>
    <p:extLst>
      <p:ext uri="{BB962C8B-B14F-4D97-AF65-F5344CB8AC3E}">
        <p14:creationId xmlns:p14="http://schemas.microsoft.com/office/powerpoint/2010/main" val="357972574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	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2EC8C5-68CF-459F-B14E-8D8B1C80D02B}"/>
              </a:ext>
            </a:extLst>
          </p:cNvPr>
          <p:cNvSpPr/>
          <p:nvPr userDrawn="1"/>
        </p:nvSpPr>
        <p:spPr>
          <a:xfrm>
            <a:off x="10594521" y="6462635"/>
            <a:ext cx="1466850" cy="3953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1063064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EDEF380-D8D1-48F2-87ED-F50ADE634795}"/>
              </a:ext>
            </a:extLst>
          </p:cNvPr>
          <p:cNvSpPr/>
          <p:nvPr userDrawn="1"/>
        </p:nvSpPr>
        <p:spPr>
          <a:xfrm>
            <a:off x="526473" y="3834039"/>
            <a:ext cx="5324763" cy="2490265"/>
          </a:xfrm>
          <a:prstGeom prst="rect">
            <a:avLst/>
          </a:prstGeom>
          <a:solidFill>
            <a:srgbClr val="134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3DF882-6A3B-4245-9CE2-D37DB975C664}"/>
              </a:ext>
            </a:extLst>
          </p:cNvPr>
          <p:cNvSpPr/>
          <p:nvPr userDrawn="1"/>
        </p:nvSpPr>
        <p:spPr>
          <a:xfrm>
            <a:off x="524161" y="1175624"/>
            <a:ext cx="5324763" cy="24902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911" y="1283001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2C99BC-27CE-44CD-8C8D-57195B3BB4A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38909" y="3947289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6C80C4-0381-43CF-88C2-BFC8A8232E79}"/>
              </a:ext>
            </a:extLst>
          </p:cNvPr>
          <p:cNvSpPr/>
          <p:nvPr userDrawn="1"/>
        </p:nvSpPr>
        <p:spPr>
          <a:xfrm>
            <a:off x="6340764" y="3834039"/>
            <a:ext cx="5324763" cy="2490265"/>
          </a:xfrm>
          <a:prstGeom prst="rect">
            <a:avLst/>
          </a:prstGeom>
          <a:solidFill>
            <a:srgbClr val="86B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431544-0A64-4740-999F-FC0687408957}"/>
              </a:ext>
            </a:extLst>
          </p:cNvPr>
          <p:cNvSpPr/>
          <p:nvPr userDrawn="1"/>
        </p:nvSpPr>
        <p:spPr>
          <a:xfrm>
            <a:off x="6338452" y="1175624"/>
            <a:ext cx="5324763" cy="2490265"/>
          </a:xfrm>
          <a:prstGeom prst="rect">
            <a:avLst/>
          </a:prstGeom>
          <a:solidFill>
            <a:srgbClr val="1C6B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25EDC9A-D9A7-47BD-80B3-CD399DF078E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553202" y="1283001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lang="en-US" sz="24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lang="en-US" sz="20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lang="en-US" sz="18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E1695E-29AC-4B47-A41F-B915368B436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553200" y="3947289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04616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0506075" y="6400800"/>
            <a:ext cx="1566182" cy="457199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4283" y="2284127"/>
            <a:ext cx="11312435" cy="1125825"/>
          </a:xfrm>
        </p:spPr>
        <p:txBody>
          <a:bodyPr>
            <a:normAutofit/>
          </a:bodyPr>
          <a:lstStyle>
            <a:lvl1pPr marL="0" indent="0" algn="l">
              <a:buNone/>
              <a:defRPr sz="24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| Function </a:t>
            </a:r>
          </a:p>
          <a:p>
            <a:r>
              <a:rPr lang="en-US" dirty="0"/>
              <a:t>Email  | Phon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44286" y="356377"/>
            <a:ext cx="11312434" cy="1604161"/>
          </a:xfrm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Questions?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16EC357-05FF-47CD-A75D-F402970876D2}"/>
              </a:ext>
            </a:extLst>
          </p:cNvPr>
          <p:cNvSpPr txBox="1">
            <a:spLocks/>
          </p:cNvSpPr>
          <p:nvPr userDrawn="1"/>
        </p:nvSpPr>
        <p:spPr>
          <a:xfrm>
            <a:off x="544286" y="5193640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gium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Ucargo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ningi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zabethlaa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706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30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chelen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0B50D3-F3FB-425A-BBDD-8AA37F846259}"/>
              </a:ext>
            </a:extLst>
          </p:cNvPr>
          <p:cNvSpPr txBox="1">
            <a:spLocks/>
          </p:cNvSpPr>
          <p:nvPr userDrawn="1"/>
        </p:nvSpPr>
        <p:spPr>
          <a:xfrm>
            <a:off x="3028407" y="5204526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gapore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 Battery Road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nk of China Building #25-01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49908 Singapo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76F25A5-E6D0-4B19-95FA-4660577D68F7}"/>
              </a:ext>
            </a:extLst>
          </p:cNvPr>
          <p:cNvSpPr txBox="1">
            <a:spLocks/>
          </p:cNvSpPr>
          <p:nvPr userDrawn="1"/>
        </p:nvSpPr>
        <p:spPr>
          <a:xfrm>
            <a:off x="5741125" y="5193638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il us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raaive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7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140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erbergen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giu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4842E9B-7192-4F95-80C7-503177476FEB}"/>
              </a:ext>
            </a:extLst>
          </p:cNvPr>
          <p:cNvSpPr txBox="1">
            <a:spLocks/>
          </p:cNvSpPr>
          <p:nvPr userDrawn="1"/>
        </p:nvSpPr>
        <p:spPr>
          <a:xfrm>
            <a:off x="544283" y="4560953"/>
            <a:ext cx="2788921" cy="3712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nallian.com</a:t>
            </a:r>
            <a:endParaRPr lang="en-US" sz="14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6DBC546C-732D-4902-82E6-B1E907AAC1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93853" y="5597966"/>
            <a:ext cx="2562867" cy="9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83644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9315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EDEF380-D8D1-48F2-87ED-F50ADE634795}"/>
              </a:ext>
            </a:extLst>
          </p:cNvPr>
          <p:cNvSpPr/>
          <p:nvPr userDrawn="1"/>
        </p:nvSpPr>
        <p:spPr>
          <a:xfrm>
            <a:off x="526473" y="3834039"/>
            <a:ext cx="5324763" cy="2490265"/>
          </a:xfrm>
          <a:prstGeom prst="rect">
            <a:avLst/>
          </a:prstGeom>
          <a:solidFill>
            <a:srgbClr val="134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3DF882-6A3B-4245-9CE2-D37DB975C664}"/>
              </a:ext>
            </a:extLst>
          </p:cNvPr>
          <p:cNvSpPr/>
          <p:nvPr userDrawn="1"/>
        </p:nvSpPr>
        <p:spPr>
          <a:xfrm>
            <a:off x="524161" y="1175624"/>
            <a:ext cx="5324763" cy="24902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911" y="1283001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2C99BC-27CE-44CD-8C8D-57195B3BB4A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38909" y="3947289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6C80C4-0381-43CF-88C2-BFC8A8232E79}"/>
              </a:ext>
            </a:extLst>
          </p:cNvPr>
          <p:cNvSpPr/>
          <p:nvPr userDrawn="1"/>
        </p:nvSpPr>
        <p:spPr>
          <a:xfrm>
            <a:off x="6340764" y="3834039"/>
            <a:ext cx="5324763" cy="2490265"/>
          </a:xfrm>
          <a:prstGeom prst="rect">
            <a:avLst/>
          </a:prstGeom>
          <a:solidFill>
            <a:srgbClr val="86B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431544-0A64-4740-999F-FC0687408957}"/>
              </a:ext>
            </a:extLst>
          </p:cNvPr>
          <p:cNvSpPr/>
          <p:nvPr userDrawn="1"/>
        </p:nvSpPr>
        <p:spPr>
          <a:xfrm>
            <a:off x="6338452" y="1175624"/>
            <a:ext cx="5324763" cy="2490265"/>
          </a:xfrm>
          <a:prstGeom prst="rect">
            <a:avLst/>
          </a:prstGeom>
          <a:solidFill>
            <a:srgbClr val="1C6B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25EDC9A-D9A7-47BD-80B3-CD399DF078E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553202" y="1283001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lang="en-US" sz="24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lang="en-US" sz="20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lang="en-US" sz="18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E1695E-29AC-4B47-A41F-B915368B436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553200" y="3947289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320761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0506075" y="6400800"/>
            <a:ext cx="1566182" cy="457199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4283" y="2284127"/>
            <a:ext cx="11312435" cy="1125825"/>
          </a:xfrm>
        </p:spPr>
        <p:txBody>
          <a:bodyPr>
            <a:normAutofit/>
          </a:bodyPr>
          <a:lstStyle>
            <a:lvl1pPr marL="0" indent="0" algn="l">
              <a:buNone/>
              <a:defRPr sz="24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| Function </a:t>
            </a:r>
          </a:p>
          <a:p>
            <a:r>
              <a:rPr lang="en-US" dirty="0"/>
              <a:t>Email  | Phon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44286" y="356377"/>
            <a:ext cx="11312434" cy="1604161"/>
          </a:xfrm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Questions?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F16EC357-05FF-47CD-A75D-F402970876D2}"/>
              </a:ext>
            </a:extLst>
          </p:cNvPr>
          <p:cNvSpPr txBox="1">
            <a:spLocks/>
          </p:cNvSpPr>
          <p:nvPr userDrawn="1"/>
        </p:nvSpPr>
        <p:spPr>
          <a:xfrm>
            <a:off x="544286" y="5193640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gium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Ucargo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ningi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zabethlaa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706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30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chelen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0B50D3-F3FB-425A-BBDD-8AA37F846259}"/>
              </a:ext>
            </a:extLst>
          </p:cNvPr>
          <p:cNvSpPr txBox="1">
            <a:spLocks/>
          </p:cNvSpPr>
          <p:nvPr userDrawn="1"/>
        </p:nvSpPr>
        <p:spPr>
          <a:xfrm>
            <a:off x="3028407" y="5204526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gapore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 Battery Road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nk of China Building #25-01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49908 Singapo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76F25A5-E6D0-4B19-95FA-4660577D68F7}"/>
              </a:ext>
            </a:extLst>
          </p:cNvPr>
          <p:cNvSpPr txBox="1">
            <a:spLocks/>
          </p:cNvSpPr>
          <p:nvPr userDrawn="1"/>
        </p:nvSpPr>
        <p:spPr>
          <a:xfrm>
            <a:off x="5741125" y="5193638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il us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raaive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7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140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erbergen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giu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4842E9B-7192-4F95-80C7-503177476FEB}"/>
              </a:ext>
            </a:extLst>
          </p:cNvPr>
          <p:cNvSpPr txBox="1">
            <a:spLocks/>
          </p:cNvSpPr>
          <p:nvPr userDrawn="1"/>
        </p:nvSpPr>
        <p:spPr>
          <a:xfrm>
            <a:off x="544283" y="4560953"/>
            <a:ext cx="2788921" cy="3712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nallian.com</a:t>
            </a:r>
            <a:endParaRPr lang="en-US" sz="14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6DBC546C-732D-4902-82E6-B1E907AAC1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293853" y="5597966"/>
            <a:ext cx="2562867" cy="903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38974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4223792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4EB9D35-B5CC-41C8-9446-2E446010768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1867" b="0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pic>
        <p:nvPicPr>
          <p:cNvPr id="10" name="Picture 9" descr="A group of people sitting at a beach&#10;&#10;Description automatically generated">
            <a:extLst>
              <a:ext uri="{FF2B5EF4-FFF2-40B4-BE49-F238E27FC236}">
                <a16:creationId xmlns:a16="http://schemas.microsoft.com/office/drawing/2014/main" id="{DF7E087E-2D18-C845-BDEB-86DE8DDA14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58" r="12960"/>
          <a:stretch/>
        </p:blipFill>
        <p:spPr>
          <a:xfrm>
            <a:off x="2476476" y="285728"/>
            <a:ext cx="9429816" cy="5962671"/>
          </a:xfrm>
          <a:prstGeom prst="rect">
            <a:avLst/>
          </a:prstGeom>
        </p:spPr>
      </p:pic>
      <p:pic>
        <p:nvPicPr>
          <p:cNvPr id="11" name="Picture 2" descr="C:\Users\S8536530D\Documents\Logo &amp; Template\CAG Logo\CAG Logo Artwork\CAG Master Logo.jpg">
            <a:extLst>
              <a:ext uri="{FF2B5EF4-FFF2-40B4-BE49-F238E27FC236}">
                <a16:creationId xmlns:a16="http://schemas.microsoft.com/office/drawing/2014/main" id="{3869EBF6-9E77-2343-8B32-BD0A5F5A23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677" y="6357187"/>
            <a:ext cx="703630" cy="418939"/>
          </a:xfrm>
          <a:prstGeom prst="rect">
            <a:avLst/>
          </a:prstGeom>
          <a:noFill/>
        </p:spPr>
      </p:pic>
      <p:pic>
        <p:nvPicPr>
          <p:cNvPr id="12" name="Picture 11" descr="A close up of a sign&#10;&#10;Description automatically generated">
            <a:extLst>
              <a:ext uri="{FF2B5EF4-FFF2-40B4-BE49-F238E27FC236}">
                <a16:creationId xmlns:a16="http://schemas.microsoft.com/office/drawing/2014/main" id="{EB97345F-6953-8540-AF63-74E32D73C27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42" y="6498808"/>
            <a:ext cx="862286" cy="277318"/>
          </a:xfrm>
          <a:prstGeom prst="rect">
            <a:avLst/>
          </a:prstGeom>
        </p:spPr>
      </p:pic>
      <p:sp>
        <p:nvSpPr>
          <p:cNvPr id="14" name="Subtitle 2">
            <a:extLst>
              <a:ext uri="{FF2B5EF4-FFF2-40B4-BE49-F238E27FC236}">
                <a16:creationId xmlns:a16="http://schemas.microsoft.com/office/drawing/2014/main" id="{B5826E97-044B-274F-9438-28A1FED201F7}"/>
              </a:ext>
            </a:extLst>
          </p:cNvPr>
          <p:cNvSpPr txBox="1">
            <a:spLocks/>
          </p:cNvSpPr>
          <p:nvPr userDrawn="1"/>
        </p:nvSpPr>
        <p:spPr>
          <a:xfrm>
            <a:off x="285708" y="1714489"/>
            <a:ext cx="18580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4800" b="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dirty="0"/>
              <a:t>Sub</a:t>
            </a: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99365604-6619-E842-A1D4-2203C9E6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5708" y="2371214"/>
            <a:ext cx="1889643" cy="954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l">
              <a:defRPr kumimoji="0" lang="en-BE" sz="1867" b="0" i="0" u="none" strike="noStrike" cap="all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itchFamily="34" charset="-128"/>
                <a:cs typeface="Arial" pitchFamily="34" charset="0"/>
              </a:defRPr>
            </a:lvl1pPr>
          </a:lstStyle>
          <a:p>
            <a:pPr marL="0" marR="0" lvl="0" indent="0" algn="l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GB" dirty="0"/>
              <a:t>Click to edit Master title style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407586428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8560576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371EA4F-6198-4CF8-BF31-98790EC208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1C663236-F9E9-D949-9000-5338AA8A5F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207" y="352061"/>
            <a:ext cx="11430079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algn="l">
              <a:defRPr lang="en-BE" sz="3200" b="1">
                <a:solidFill>
                  <a:schemeClr val="tx1"/>
                </a:solidFill>
                <a:latin typeface="Calibri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l" defTabSz="1219110" fontAlgn="auto">
              <a:spcBef>
                <a:spcPts val="0"/>
              </a:spcBef>
              <a:spcAft>
                <a:spcPts val="0"/>
              </a:spcAft>
            </a:pPr>
            <a:r>
              <a:rPr lang="en-GB" dirty="0"/>
              <a:t>Click to edit Master title style</a:t>
            </a:r>
            <a:endParaRPr lang="en-BE" dirty="0"/>
          </a:p>
        </p:txBody>
      </p:sp>
      <p:pic>
        <p:nvPicPr>
          <p:cNvPr id="12" name="Picture 2" descr="C:\Users\S8536530D\Documents\Logo &amp; Template\CAG Logo\CAG Logo Artwork\CAG Master Logo.jpg">
            <a:extLst>
              <a:ext uri="{FF2B5EF4-FFF2-40B4-BE49-F238E27FC236}">
                <a16:creationId xmlns:a16="http://schemas.microsoft.com/office/drawing/2014/main" id="{08E46BF4-DA45-AD46-99C5-CCEAC7996BA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677" y="6357187"/>
            <a:ext cx="703630" cy="418939"/>
          </a:xfrm>
          <a:prstGeom prst="rect">
            <a:avLst/>
          </a:prstGeom>
          <a:noFill/>
        </p:spPr>
      </p:pic>
      <p:pic>
        <p:nvPicPr>
          <p:cNvPr id="14" name="Picture 13" descr="A close up of a sign&#10;&#10;Description automatically generated">
            <a:extLst>
              <a:ext uri="{FF2B5EF4-FFF2-40B4-BE49-F238E27FC236}">
                <a16:creationId xmlns:a16="http://schemas.microsoft.com/office/drawing/2014/main" id="{0B51A09F-2C08-CC49-9B14-C346A43F83D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42" y="6498808"/>
            <a:ext cx="862286" cy="277318"/>
          </a:xfrm>
          <a:prstGeom prst="rect">
            <a:avLst/>
          </a:prstGeom>
        </p:spPr>
      </p:pic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E42A558A-90F2-8D4E-9A8C-89E33297473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73722" y="1352883"/>
            <a:ext cx="10710237" cy="477809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Font typeface="Arial" panose="020B0604020202020204" pitchFamily="34" charset="0"/>
              <a:buChar char="•"/>
              <a:defRPr lang="en-GB" sz="2400" smtClean="0"/>
            </a:lvl1pPr>
            <a:lvl2pPr marL="746125" indent="-342900">
              <a:buFont typeface="Arial" panose="020B0604020202020204" pitchFamily="34" charset="0"/>
              <a:buChar char="•"/>
              <a:defRPr lang="en-GB" sz="2400" smtClean="0"/>
            </a:lvl2pPr>
            <a:lvl3pPr>
              <a:buFont typeface="Arial" panose="020B0604020202020204" pitchFamily="34" charset="0"/>
              <a:buChar char="•"/>
              <a:defRPr lang="en-GB" sz="2400" smtClean="0"/>
            </a:lvl3pPr>
            <a:lvl4pPr marL="1500187" indent="-342900">
              <a:buFont typeface="Arial" panose="020B0604020202020204" pitchFamily="34" charset="0"/>
              <a:buChar char="•"/>
              <a:defRPr lang="en-GB" sz="2400" smtClean="0"/>
            </a:lvl4pPr>
            <a:lvl5pPr>
              <a:buFont typeface="Arial" panose="020B0604020202020204" pitchFamily="34" charset="0"/>
              <a:buChar char="•"/>
              <a:defRPr lang="en-BE" sz="2400"/>
            </a:lvl5pPr>
            <a:lvl6pPr marL="3359077" indent="-457200">
              <a:buFont typeface="Arial" panose="020B0604020202020204" pitchFamily="34" charset="0"/>
              <a:buChar char="•"/>
              <a:defRPr/>
            </a:lvl6pPr>
          </a:lstStyle>
          <a:p>
            <a:pPr marL="357188" lvl="0" indent="-350838" fontAlgn="auto">
              <a:spcAft>
                <a:spcPts val="0"/>
              </a:spcAft>
              <a:tabLst/>
            </a:pPr>
            <a:r>
              <a:rPr lang="en-GB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086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7">
          <p15:clr>
            <a:srgbClr val="FBAE40"/>
          </p15:clr>
        </p15:guide>
        <p15:guide id="2" orient="horz" pos="21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113743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96FCAC-4EF0-4B27-9933-149A55910D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200" b="1" i="0" baseline="0" dirty="0">
              <a:latin typeface="Calibri" panose="020F050202020403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BD0FB6FE-53FC-0649-B3BB-360B4B26C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208" y="352061"/>
            <a:ext cx="1143008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>
              <a:defRPr lang="en-BE" sz="3200" b="1">
                <a:solidFill>
                  <a:prstClr val="black"/>
                </a:solidFill>
                <a:latin typeface="Calibri"/>
                <a:ea typeface="ＭＳ Ｐゴシック" pitchFamily="34" charset="-128"/>
                <a:cs typeface="Arial" pitchFamily="34" charset="0"/>
              </a:defRPr>
            </a:lvl1pPr>
          </a:lstStyle>
          <a:p>
            <a:pPr lvl="0" algn="l" defTabSz="1219110" fontAlgn="auto">
              <a:spcBef>
                <a:spcPts val="0"/>
              </a:spcBef>
              <a:spcAft>
                <a:spcPts val="0"/>
              </a:spcAft>
            </a:pPr>
            <a:r>
              <a:rPr lang="en-GB" dirty="0"/>
              <a:t>Click to edit Master title style</a:t>
            </a:r>
            <a:endParaRPr lang="en-BE" dirty="0"/>
          </a:p>
        </p:txBody>
      </p:sp>
      <p:pic>
        <p:nvPicPr>
          <p:cNvPr id="7" name="Picture 2" descr="C:\Users\S8536530D\Documents\Logo &amp; Template\CAG Logo\CAG Logo Artwork\CAG Master Logo.jpg">
            <a:extLst>
              <a:ext uri="{FF2B5EF4-FFF2-40B4-BE49-F238E27FC236}">
                <a16:creationId xmlns:a16="http://schemas.microsoft.com/office/drawing/2014/main" id="{A7243B05-4B4D-C44F-B72F-B3044C0B4FF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677" y="6357187"/>
            <a:ext cx="703630" cy="418939"/>
          </a:xfrm>
          <a:prstGeom prst="rect">
            <a:avLst/>
          </a:prstGeom>
          <a:noFill/>
        </p:spPr>
      </p:pic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1D2256DF-2C59-234D-B65D-C6BA02E77F6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42" y="6498808"/>
            <a:ext cx="862286" cy="2773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141728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8E70C4-19D9-4F5F-902E-F3E13EF804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57988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8E70C4-19D9-4F5F-902E-F3E13EF80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BE5499-1CCC-4E40-87E8-4C92A75D60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72934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668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BD7A36DD-8637-4F41-AC5D-B7F30DFDBC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6704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973978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. Source">
            <a:extLst>
              <a:ext uri="{FF2B5EF4-FFF2-40B4-BE49-F238E27FC236}">
                <a16:creationId xmlns:a16="http://schemas.microsoft.com/office/drawing/2014/main" id="{5299F77C-686B-40E1-B929-88C64011EE6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: ...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2296"/>
            <a:ext cx="4480560" cy="13716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9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06205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0506075" y="6400800"/>
            <a:ext cx="1566182" cy="457199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4973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3B64E-65AB-4783-99E1-63C00339D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9AF60-AC26-45DA-A0FD-956A8604BC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ED8F56-C0AB-4E07-8B48-BE06FBCAD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224AC-9F42-45AD-9E9B-05BCD9560A7D}" type="datetimeFigureOut">
              <a:rPr lang="en-SG" smtClean="0"/>
              <a:t>18/5/2023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B42F3-F899-4EF4-BD0F-A74739820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6791C-BC8D-4279-A559-80002AE12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6B9F0-0980-4BE9-8098-355F5D065736}" type="slidenum">
              <a:rPr lang="en-SG" smtClean="0"/>
              <a:t>‹nr.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2247043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4879448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6972BC8-4628-4BF6-AA18-33B0E68616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4F65-837A-4C21-BD98-BAA908BEE713}" type="datetimeFigureOut">
              <a:rPr lang="en-US" smtClean="0"/>
              <a:pPr/>
              <a:t>5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FF81-AF02-489D-A413-887D5559713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2640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3325318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93F907-E5C5-4E16-B844-D545EBC69C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4F65-837A-4C21-BD98-BAA908BEE713}" type="datetimeFigureOut">
              <a:rPr lang="en-US" smtClean="0"/>
              <a:pPr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FF81-AF02-489D-A413-887D5559713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6044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0454484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8E70C4-19D9-4F5F-902E-F3E13EF804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427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8E70C4-19D9-4F5F-902E-F3E13EF80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BE5499-1CCC-4E40-87E8-4C92A75D60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4621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9207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BD7A36DD-8637-4F41-AC5D-B7F30DFDBC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6704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9300894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. Source">
            <a:extLst>
              <a:ext uri="{FF2B5EF4-FFF2-40B4-BE49-F238E27FC236}">
                <a16:creationId xmlns:a16="http://schemas.microsoft.com/office/drawing/2014/main" id="{5299F77C-686B-40E1-B929-88C64011EE6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: ...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2296"/>
            <a:ext cx="4480560" cy="13716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9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945306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3B64E-65AB-4783-99E1-63C00339D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9AF60-AC26-45DA-A0FD-956A8604BC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ED8F56-C0AB-4E07-8B48-BE06FBCAD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224AC-9F42-45AD-9E9B-05BCD9560A7D}" type="datetimeFigureOut">
              <a:rPr lang="en-SG" smtClean="0"/>
              <a:t>18/5/2023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B42F3-F899-4EF4-BD0F-A74739820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6791C-BC8D-4279-A559-80002AE12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6B9F0-0980-4BE9-8098-355F5D065736}" type="slidenum">
              <a:rPr lang="en-SG" smtClean="0"/>
              <a:t>‹nr.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87888330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7120837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93F907-E5C5-4E16-B844-D545EBC69C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4F65-837A-4C21-BD98-BAA908BEE713}" type="datetimeFigureOut">
              <a:rPr lang="en-US" smtClean="0"/>
              <a:pPr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FF81-AF02-489D-A413-887D5559713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1119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1"/>
            <a:ext cx="12192000" cy="5554943"/>
          </a:xfrm>
          <a:prstGeom prst="rect">
            <a:avLst/>
          </a:prstGeom>
          <a:gradFill>
            <a:gsLst>
              <a:gs pos="0">
                <a:srgbClr val="1988E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5554944"/>
            <a:ext cx="12192000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-44132" y="6504593"/>
            <a:ext cx="435485" cy="43548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4000" y="6558888"/>
            <a:ext cx="323394" cy="332852"/>
            <a:chOff x="1108747" y="836614"/>
            <a:chExt cx="5715613" cy="5896288"/>
          </a:xfrm>
          <a:solidFill>
            <a:srgbClr val="F2F2F2"/>
          </a:solidFill>
          <a:effectLst/>
        </p:grpSpPr>
        <p:sp>
          <p:nvSpPr>
            <p:cNvPr id="31" name="Block Arc 30"/>
            <p:cNvSpPr/>
            <p:nvPr/>
          </p:nvSpPr>
          <p:spPr>
            <a:xfrm>
              <a:off x="2797018" y="836614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Block Arc 31"/>
            <p:cNvSpPr/>
            <p:nvPr/>
          </p:nvSpPr>
          <p:spPr>
            <a:xfrm rot="7200000">
              <a:off x="2936571" y="2845112"/>
              <a:ext cx="3887786" cy="3887793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" name="Block Arc 32"/>
            <p:cNvSpPr/>
            <p:nvPr/>
          </p:nvSpPr>
          <p:spPr>
            <a:xfrm rot="14400000">
              <a:off x="1108747" y="1888217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56054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accent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0E0EBF-AC19-4496-9893-75049A611331}"/>
              </a:ext>
            </a:extLst>
          </p:cNvPr>
          <p:cNvSpPr/>
          <p:nvPr userDrawn="1"/>
        </p:nvSpPr>
        <p:spPr>
          <a:xfrm>
            <a:off x="10929257" y="6411686"/>
            <a:ext cx="1153886" cy="3701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213393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2598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8E70C4-19D9-4F5F-902E-F3E13EF804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953706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8E70C4-19D9-4F5F-902E-F3E13EF80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BE5499-1CCC-4E40-87E8-4C92A75D60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63782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7325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BD7A36DD-8637-4F41-AC5D-B7F30DFDBC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6704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6860703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. Source">
            <a:extLst>
              <a:ext uri="{FF2B5EF4-FFF2-40B4-BE49-F238E27FC236}">
                <a16:creationId xmlns:a16="http://schemas.microsoft.com/office/drawing/2014/main" id="{5299F77C-686B-40E1-B929-88C64011EE6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: ...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2296"/>
            <a:ext cx="4480560" cy="13716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9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560720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3B64E-65AB-4783-99E1-63C00339D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9AF60-AC26-45DA-A0FD-956A8604BC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ED8F56-C0AB-4E07-8B48-BE06FBCAD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224AC-9F42-45AD-9E9B-05BCD9560A7D}" type="datetimeFigureOut">
              <a:rPr lang="en-SG" smtClean="0"/>
              <a:t>18/5/2023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B42F3-F899-4EF4-BD0F-A74739820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6791C-BC8D-4279-A559-80002AE12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6B9F0-0980-4BE9-8098-355F5D065736}" type="slidenum">
              <a:rPr lang="en-SG" smtClean="0"/>
              <a:t>‹nr.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80435868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6643704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6972BC8-4628-4BF6-AA18-33B0E68616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4F65-837A-4C21-BD98-BAA908BEE713}" type="datetimeFigureOut">
              <a:rPr lang="en-US" smtClean="0"/>
              <a:pPr/>
              <a:t>5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FF81-AF02-489D-A413-887D5559713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2406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2354768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93F907-E5C5-4E16-B844-D545EBC69C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4F65-837A-4C21-BD98-BAA908BEE713}" type="datetimeFigureOut">
              <a:rPr lang="en-US" smtClean="0"/>
              <a:pPr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FF81-AF02-489D-A413-887D5559713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3390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1"/>
            <a:ext cx="12192000" cy="5554943"/>
          </a:xfrm>
          <a:prstGeom prst="rect">
            <a:avLst/>
          </a:prstGeom>
          <a:gradFill>
            <a:gsLst>
              <a:gs pos="0">
                <a:srgbClr val="1988E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5554944"/>
            <a:ext cx="12192000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-44132" y="6504593"/>
            <a:ext cx="435485" cy="43548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4000" y="6558888"/>
            <a:ext cx="323394" cy="332852"/>
            <a:chOff x="1108747" y="836614"/>
            <a:chExt cx="5715613" cy="5896288"/>
          </a:xfrm>
          <a:solidFill>
            <a:srgbClr val="F2F2F2"/>
          </a:solidFill>
          <a:effectLst/>
        </p:grpSpPr>
        <p:sp>
          <p:nvSpPr>
            <p:cNvPr id="31" name="Block Arc 30"/>
            <p:cNvSpPr/>
            <p:nvPr/>
          </p:nvSpPr>
          <p:spPr>
            <a:xfrm>
              <a:off x="2797018" y="836614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Block Arc 31"/>
            <p:cNvSpPr/>
            <p:nvPr/>
          </p:nvSpPr>
          <p:spPr>
            <a:xfrm rot="7200000">
              <a:off x="2936571" y="2845112"/>
              <a:ext cx="3887786" cy="3887793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" name="Block Arc 32"/>
            <p:cNvSpPr/>
            <p:nvPr/>
          </p:nvSpPr>
          <p:spPr>
            <a:xfrm rot="14400000">
              <a:off x="1108747" y="1888217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65205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30218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8E70C4-19D9-4F5F-902E-F3E13EF804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3749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8E70C4-19D9-4F5F-902E-F3E13EF80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BE5499-1CCC-4E40-87E8-4C92A75D60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167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11322630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55559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8441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BD7A36DD-8637-4F41-AC5D-B7F30DFDBC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6704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829048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. Source">
            <a:extLst>
              <a:ext uri="{FF2B5EF4-FFF2-40B4-BE49-F238E27FC236}">
                <a16:creationId xmlns:a16="http://schemas.microsoft.com/office/drawing/2014/main" id="{5299F77C-686B-40E1-B929-88C64011EE6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: ...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2296"/>
            <a:ext cx="4480560" cy="13716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9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7638517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3B64E-65AB-4783-99E1-63C00339D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9AF60-AC26-45DA-A0FD-956A8604BC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ED8F56-C0AB-4E07-8B48-BE06FBCAD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224AC-9F42-45AD-9E9B-05BCD9560A7D}" type="datetimeFigureOut">
              <a:rPr lang="en-SG" smtClean="0"/>
              <a:t>18/5/2023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B42F3-F899-4EF4-BD0F-A74739820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6791C-BC8D-4279-A559-80002AE12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6B9F0-0980-4BE9-8098-355F5D065736}" type="slidenum">
              <a:rPr lang="en-SG" smtClean="0"/>
              <a:t>‹nr.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4108427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1"/>
            <a:ext cx="12192000" cy="5554943"/>
          </a:xfrm>
          <a:prstGeom prst="rect">
            <a:avLst/>
          </a:prstGeom>
          <a:gradFill>
            <a:gsLst>
              <a:gs pos="0">
                <a:srgbClr val="1988E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5554944"/>
            <a:ext cx="12192000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-44132" y="6504593"/>
            <a:ext cx="435485" cy="43548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4000" y="6558888"/>
            <a:ext cx="323394" cy="332852"/>
            <a:chOff x="1108747" y="836614"/>
            <a:chExt cx="5715613" cy="5896288"/>
          </a:xfrm>
          <a:solidFill>
            <a:srgbClr val="F2F2F2"/>
          </a:solidFill>
          <a:effectLst/>
        </p:grpSpPr>
        <p:sp>
          <p:nvSpPr>
            <p:cNvPr id="31" name="Block Arc 30"/>
            <p:cNvSpPr/>
            <p:nvPr/>
          </p:nvSpPr>
          <p:spPr>
            <a:xfrm>
              <a:off x="2797018" y="836614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Block Arc 31"/>
            <p:cNvSpPr/>
            <p:nvPr/>
          </p:nvSpPr>
          <p:spPr>
            <a:xfrm rot="7200000">
              <a:off x="2936571" y="2845112"/>
              <a:ext cx="3887786" cy="3887793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" name="Block Arc 32"/>
            <p:cNvSpPr/>
            <p:nvPr/>
          </p:nvSpPr>
          <p:spPr>
            <a:xfrm rot="14400000">
              <a:off x="1108747" y="1888217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6528073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361880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A8E70C4-19D9-4F5F-902E-F3E13EF804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18246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A8E70C4-19D9-4F5F-902E-F3E13EF804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CBE5499-1CCC-4E40-87E8-4C92A75D606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5907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4887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id="{BD7A36DD-8637-4F41-AC5D-B7F30DFDBC5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2212"/>
            <a:ext cx="11082528" cy="73152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4736" y="884725"/>
            <a:ext cx="11082528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113DFDDF-7DA2-4E92-8555-8B9DB1295FA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7156704" y="89320"/>
            <a:ext cx="4480560" cy="123111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8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2909903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. Source">
            <a:extLst>
              <a:ext uri="{FF2B5EF4-FFF2-40B4-BE49-F238E27FC236}">
                <a16:creationId xmlns:a16="http://schemas.microsoft.com/office/drawing/2014/main" id="{5299F77C-686B-40E1-B929-88C64011EE6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554736" y="6501669"/>
            <a:ext cx="7277861" cy="138499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Source: ...</a:t>
            </a:r>
            <a:endParaRPr lang="en-US" dirty="0"/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242E706C-B652-4B8D-8347-CE6D35DB7BB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2"/>
            </p:custDataLst>
          </p:nvPr>
        </p:nvSpPr>
        <p:spPr>
          <a:xfrm>
            <a:off x="7159752" y="82296"/>
            <a:ext cx="4480560" cy="137160"/>
          </a:xfrm>
        </p:spPr>
        <p:txBody>
          <a:bodyPr vert="horz" wrap="square" lIns="0" tIns="0" rIns="0" bIns="0" rtlCol="0" anchor="ctr" anchorCtr="0">
            <a:spAutoFit/>
          </a:bodyPr>
          <a:lstStyle>
            <a:lvl1pPr algn="r">
              <a:defRPr lang="en-US" sz="900" dirty="0"/>
            </a:lvl1pPr>
          </a:lstStyle>
          <a:p>
            <a:pPr lvl="0" algn="r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030809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203B64E-65AB-4783-99E1-63C00339DC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SG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39AF60-AC26-45DA-A0FD-956A8604BC4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ED8F56-C0AB-4E07-8B48-BE06FBCAD5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8224AC-9F42-45AD-9E9B-05BCD9560A7D}" type="datetimeFigureOut">
              <a:rPr lang="en-SG" smtClean="0"/>
              <a:t>18/5/2023</a:t>
            </a:fld>
            <a:endParaRPr lang="en-SG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BB42F3-F899-4EF4-BD0F-A747398200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CD6791C-BC8D-4279-A559-80002AE125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56B9F0-0980-4BE9-8098-355F5D065736}" type="slidenum">
              <a:rPr lang="en-SG" smtClean="0"/>
              <a:t>‹nr.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19523319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8408370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6972BC8-4628-4BF6-AA18-33B0E686163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4F65-837A-4C21-BD98-BAA908BEE713}" type="datetimeFigureOut">
              <a:rPr lang="en-US" smtClean="0"/>
              <a:pPr/>
              <a:t>5/1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FF81-AF02-489D-A413-887D5559713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6587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right,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F24E52-FAFD-4817-8755-ACFC85ED566F}"/>
              </a:ext>
            </a:extLst>
          </p:cNvPr>
          <p:cNvSpPr/>
          <p:nvPr userDrawn="1"/>
        </p:nvSpPr>
        <p:spPr>
          <a:xfrm>
            <a:off x="7897091" y="0"/>
            <a:ext cx="429490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7012421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7012421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95F177-DB51-4E48-AB31-916641C04E4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21964" y="1699491"/>
            <a:ext cx="3511839" cy="4553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tabLst>
                <a:tab pos="0" algn="l"/>
              </a:tabLst>
              <a:defRPr sz="2400" b="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3F3F1C5-1BFB-40C1-88CD-3E74484893FC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21964" y="378690"/>
            <a:ext cx="3511839" cy="1108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tabLst>
                <a:tab pos="0" algn="l"/>
              </a:tabLst>
              <a:defRPr sz="280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783945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4022510"/>
              </p:ext>
            </p:extLst>
          </p:nvPr>
        </p:nvGraphicFramePr>
        <p:xfrm>
          <a:off x="2117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E93F907-E5C5-4E16-B844-D545EBC69C0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234F65-837A-4C21-BD98-BAA908BEE713}" type="datetimeFigureOut">
              <a:rPr lang="en-US" smtClean="0"/>
              <a:pPr/>
              <a:t>5/1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6D7FF81-AF02-489D-A413-887D55597137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5354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1"/>
            <a:ext cx="12192000" cy="5554943"/>
          </a:xfrm>
          <a:prstGeom prst="rect">
            <a:avLst/>
          </a:prstGeom>
          <a:gradFill>
            <a:gsLst>
              <a:gs pos="0">
                <a:srgbClr val="1988E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5554944"/>
            <a:ext cx="12192000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-44132" y="6504593"/>
            <a:ext cx="435485" cy="43548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4000" y="6558888"/>
            <a:ext cx="323394" cy="332852"/>
            <a:chOff x="1108747" y="836614"/>
            <a:chExt cx="5715613" cy="5896288"/>
          </a:xfrm>
          <a:solidFill>
            <a:srgbClr val="F2F2F2"/>
          </a:solidFill>
          <a:effectLst/>
        </p:grpSpPr>
        <p:sp>
          <p:nvSpPr>
            <p:cNvPr id="31" name="Block Arc 30"/>
            <p:cNvSpPr/>
            <p:nvPr/>
          </p:nvSpPr>
          <p:spPr>
            <a:xfrm>
              <a:off x="2797018" y="836614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Block Arc 31"/>
            <p:cNvSpPr/>
            <p:nvPr/>
          </p:nvSpPr>
          <p:spPr>
            <a:xfrm rot="7200000">
              <a:off x="2936571" y="2845112"/>
              <a:ext cx="3887786" cy="3887793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" name="Block Arc 32"/>
            <p:cNvSpPr/>
            <p:nvPr/>
          </p:nvSpPr>
          <p:spPr>
            <a:xfrm rot="14400000">
              <a:off x="1108747" y="1888217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426495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393083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1041305" y="6392432"/>
            <a:ext cx="1002913" cy="465567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97E1DEC2-F7ED-0447-972B-F8DEB9A486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892145" y="5983695"/>
            <a:ext cx="1891342" cy="60934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2B39F2A-CA5A-42E1-AC3C-0B2D14751A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8000"/>
          </a:blip>
          <a:srcRect r="20101"/>
          <a:stretch/>
        </p:blipFill>
        <p:spPr>
          <a:xfrm>
            <a:off x="0" y="-5435"/>
            <a:ext cx="12192000" cy="68634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59241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0506075" y="6400800"/>
            <a:ext cx="1566182" cy="457199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566812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accent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0E0EBF-AC19-4496-9893-75049A611331}"/>
              </a:ext>
            </a:extLst>
          </p:cNvPr>
          <p:cNvSpPr/>
          <p:nvPr userDrawn="1"/>
        </p:nvSpPr>
        <p:spPr>
          <a:xfrm>
            <a:off x="10929257" y="6411686"/>
            <a:ext cx="1153886" cy="3701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7459319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11322630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37062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right,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F24E52-FAFD-4817-8755-ACFC85ED566F}"/>
              </a:ext>
            </a:extLst>
          </p:cNvPr>
          <p:cNvSpPr/>
          <p:nvPr userDrawn="1"/>
        </p:nvSpPr>
        <p:spPr>
          <a:xfrm>
            <a:off x="7897091" y="0"/>
            <a:ext cx="429490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7012421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7012421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95F177-DB51-4E48-AB31-916641C04E4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21964" y="1699491"/>
            <a:ext cx="3511839" cy="4553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tabLst>
                <a:tab pos="0" algn="l"/>
              </a:tabLst>
              <a:defRPr sz="2400" b="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3F3F1C5-1BFB-40C1-88CD-3E74484893FC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21964" y="378690"/>
            <a:ext cx="3511839" cy="1108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tabLst>
                <a:tab pos="0" algn="l"/>
              </a:tabLst>
              <a:defRPr sz="280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3426941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right,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0"/>
            <a:ext cx="8372474" cy="685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None/>
              <a:defRPr/>
            </a:lvl1pPr>
            <a:lvl2pPr>
              <a:spcBef>
                <a:spcPts val="800"/>
              </a:spcBef>
              <a:defRPr/>
            </a:lvl2pPr>
          </a:lstStyle>
          <a:p>
            <a:pPr lvl="0"/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3007D1B-12FC-4602-8C11-DEB7C8CA96AC}"/>
              </a:ext>
            </a:extLst>
          </p:cNvPr>
          <p:cNvSpPr/>
          <p:nvPr userDrawn="1"/>
        </p:nvSpPr>
        <p:spPr>
          <a:xfrm>
            <a:off x="7897091" y="0"/>
            <a:ext cx="429490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1E4721E-B437-4B1D-87BA-01AB5C8C87B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21964" y="1699491"/>
            <a:ext cx="3511839" cy="4553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tabLst>
                <a:tab pos="0" algn="l"/>
              </a:tabLst>
              <a:defRPr sz="2400" b="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D67E20-D364-415C-9E68-599480FF08C2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21964" y="378690"/>
            <a:ext cx="3511839" cy="1108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tabLst>
                <a:tab pos="0" algn="l"/>
              </a:tabLst>
              <a:defRPr sz="280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2663693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,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7012421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7012421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031159-0A02-4A3D-9253-450EC341EB1B}"/>
              </a:ext>
            </a:extLst>
          </p:cNvPr>
          <p:cNvSpPr/>
          <p:nvPr userDrawn="1"/>
        </p:nvSpPr>
        <p:spPr>
          <a:xfrm>
            <a:off x="10880436" y="6336145"/>
            <a:ext cx="1209964" cy="4433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95F177-DB51-4E48-AB31-916641C04E4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897092" y="0"/>
            <a:ext cx="4294908" cy="6857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buNone/>
              <a:tabLst>
                <a:tab pos="0" algn="l"/>
              </a:tabLst>
              <a:defRPr sz="2400" b="0" spc="0">
                <a:solidFill>
                  <a:schemeClr val="bg1"/>
                </a:solidFill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305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right,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0"/>
            <a:ext cx="8372474" cy="685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None/>
              <a:defRPr/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3007D1B-12FC-4602-8C11-DEB7C8CA96AC}"/>
              </a:ext>
            </a:extLst>
          </p:cNvPr>
          <p:cNvSpPr/>
          <p:nvPr userDrawn="1"/>
        </p:nvSpPr>
        <p:spPr>
          <a:xfrm>
            <a:off x="7897091" y="0"/>
            <a:ext cx="429490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1E4721E-B437-4B1D-87BA-01AB5C8C87B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21964" y="1699491"/>
            <a:ext cx="3511839" cy="4553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tabLst>
                <a:tab pos="0" algn="l"/>
              </a:tabLst>
              <a:defRPr sz="2400" b="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D67E20-D364-415C-9E68-599480FF08C2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21964" y="378690"/>
            <a:ext cx="3511839" cy="1108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tabLst>
                <a:tab pos="0" algn="l"/>
              </a:tabLst>
              <a:defRPr sz="280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452598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2124076"/>
            <a:ext cx="5307060" cy="4341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0989403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A49AA2-D478-48B9-8E3A-C869556902A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08816" y="2125837"/>
            <a:ext cx="5307060" cy="4349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Second level</a:t>
            </a:r>
          </a:p>
          <a:p>
            <a:pPr marL="1143000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Third level</a:t>
            </a:r>
          </a:p>
          <a:p>
            <a:pPr marL="1600200" lvl="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4663DE2-CAE1-4CAF-8065-E4A1C965887B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4350" y="1253408"/>
            <a:ext cx="5320364" cy="7373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ctr">
              <a:buNone/>
              <a:tabLst>
                <a:tab pos="0" algn="l"/>
              </a:tabLst>
              <a:defRPr b="1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 dirty="0"/>
              <a:t>Click to edit Master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81C4BA-E562-45B0-B4B3-98BB36C3112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08816" y="1255170"/>
            <a:ext cx="5307060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buNone/>
              <a:defRPr lang="en-US" sz="24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624528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4" y="2124076"/>
            <a:ext cx="3537526" cy="4257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A49AA2-D478-48B9-8E3A-C869556902A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16959" y="2125837"/>
            <a:ext cx="3537526" cy="42657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Second level</a:t>
            </a:r>
          </a:p>
          <a:p>
            <a:pPr marL="1143000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Third level</a:t>
            </a:r>
          </a:p>
          <a:p>
            <a:pPr marL="1600200" lvl="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4663DE2-CAE1-4CAF-8065-E4A1C965887B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14351" y="1253408"/>
            <a:ext cx="3546394" cy="7373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ctr">
              <a:buNone/>
              <a:tabLst>
                <a:tab pos="0" algn="l"/>
              </a:tabLst>
              <a:defRPr sz="2800" b="1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81C4BA-E562-45B0-B4B3-98BB36C3112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416959" y="1255170"/>
            <a:ext cx="3537526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28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tex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F28918F-61B9-4FDC-8D81-0457C0B00CE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16009" y="2125837"/>
            <a:ext cx="3537526" cy="42657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marL="685800" lvl="1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Second level</a:t>
            </a:r>
          </a:p>
          <a:p>
            <a:pPr marL="1143000" lvl="2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Third level</a:t>
            </a:r>
          </a:p>
          <a:p>
            <a:pPr marL="1600200" lvl="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</a:pPr>
            <a:r>
              <a:rPr lang="en-US" dirty="0"/>
              <a:t>Four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ACCF3E8-8ED6-41EC-9191-C121253B769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16009" y="1252024"/>
            <a:ext cx="3537526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28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502327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	</a:t>
            </a:r>
          </a:p>
        </p:txBody>
      </p:sp>
    </p:spTree>
    <p:extLst>
      <p:ext uri="{BB962C8B-B14F-4D97-AF65-F5344CB8AC3E}">
        <p14:creationId xmlns:p14="http://schemas.microsoft.com/office/powerpoint/2010/main" val="28511814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	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D2EC8C5-68CF-459F-B14E-8D8B1C80D02B}"/>
              </a:ext>
            </a:extLst>
          </p:cNvPr>
          <p:cNvSpPr/>
          <p:nvPr userDrawn="1"/>
        </p:nvSpPr>
        <p:spPr>
          <a:xfrm>
            <a:off x="10594521" y="6462635"/>
            <a:ext cx="1466850" cy="3953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3648895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AEDEF380-D8D1-48F2-87ED-F50ADE634795}"/>
              </a:ext>
            </a:extLst>
          </p:cNvPr>
          <p:cNvSpPr/>
          <p:nvPr userDrawn="1"/>
        </p:nvSpPr>
        <p:spPr>
          <a:xfrm>
            <a:off x="526473" y="3834039"/>
            <a:ext cx="5324763" cy="2490265"/>
          </a:xfrm>
          <a:prstGeom prst="rect">
            <a:avLst/>
          </a:prstGeom>
          <a:solidFill>
            <a:srgbClr val="134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E3DF882-6A3B-4245-9CE2-D37DB975C664}"/>
              </a:ext>
            </a:extLst>
          </p:cNvPr>
          <p:cNvSpPr/>
          <p:nvPr userDrawn="1"/>
        </p:nvSpPr>
        <p:spPr>
          <a:xfrm>
            <a:off x="524161" y="1175624"/>
            <a:ext cx="5324763" cy="249026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8911" y="1283001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0"/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22C99BC-27CE-44CD-8C8D-57195B3BB4A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38909" y="3947289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0"/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56C80C4-0381-43CF-88C2-BFC8A8232E79}"/>
              </a:ext>
            </a:extLst>
          </p:cNvPr>
          <p:cNvSpPr/>
          <p:nvPr userDrawn="1"/>
        </p:nvSpPr>
        <p:spPr>
          <a:xfrm>
            <a:off x="6340764" y="3834039"/>
            <a:ext cx="5324763" cy="2490265"/>
          </a:xfrm>
          <a:prstGeom prst="rect">
            <a:avLst/>
          </a:prstGeom>
          <a:solidFill>
            <a:srgbClr val="86BB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D431544-0A64-4740-999F-FC0687408957}"/>
              </a:ext>
            </a:extLst>
          </p:cNvPr>
          <p:cNvSpPr/>
          <p:nvPr userDrawn="1"/>
        </p:nvSpPr>
        <p:spPr>
          <a:xfrm>
            <a:off x="6338452" y="1175624"/>
            <a:ext cx="5324763" cy="2490265"/>
          </a:xfrm>
          <a:prstGeom prst="rect">
            <a:avLst/>
          </a:prstGeom>
          <a:solidFill>
            <a:srgbClr val="1C6BB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25EDC9A-D9A7-47BD-80B3-CD399DF078E4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553202" y="1283001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lang="en-US" sz="24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 lang="en-US" sz="20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lang="en-US" sz="1800" b="0" kern="12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0"/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E1695E-29AC-4B47-A41F-B915368B4367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553200" y="3947289"/>
            <a:ext cx="5006105" cy="2263764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 sz="2400" b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lnSpc>
                <a:spcPct val="100000"/>
              </a:lnSpc>
              <a:spcBef>
                <a:spcPts val="800"/>
              </a:spcBef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lnSpc>
                <a:spcPct val="100000"/>
              </a:lnSpc>
              <a:buClr>
                <a:schemeClr val="bg1"/>
              </a:buClr>
              <a:buFont typeface="Wingdings" panose="05000000000000000000" pitchFamily="2" charset="2"/>
              <a:buChar char="§"/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2988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0506075" y="6400800"/>
            <a:ext cx="1566182" cy="457199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44283" y="2284127"/>
            <a:ext cx="11312435" cy="1125825"/>
          </a:xfrm>
        </p:spPr>
        <p:txBody>
          <a:bodyPr>
            <a:normAutofit/>
          </a:bodyPr>
          <a:lstStyle>
            <a:lvl1pPr marL="0" indent="0" algn="l">
              <a:buNone/>
              <a:defRPr sz="24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 | Function </a:t>
            </a:r>
          </a:p>
          <a:p>
            <a:r>
              <a:rPr lang="en-US" dirty="0"/>
              <a:t>Email  | Phon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 hasCustomPrompt="1"/>
          </p:nvPr>
        </p:nvSpPr>
        <p:spPr>
          <a:xfrm>
            <a:off x="544286" y="356377"/>
            <a:ext cx="11312434" cy="1604161"/>
          </a:xfrm>
        </p:spPr>
        <p:txBody>
          <a:bodyPr anchor="ctr"/>
          <a:lstStyle>
            <a:lvl1pPr algn="l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Questions?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97E1DEC2-F7ED-0447-972B-F8DEB9A486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05255" y="5716154"/>
            <a:ext cx="2214945" cy="713601"/>
          </a:xfrm>
          <a:prstGeom prst="rect">
            <a:avLst/>
          </a:prstGeom>
        </p:spPr>
      </p:pic>
      <p:sp>
        <p:nvSpPr>
          <p:cNvPr id="8" name="Subtitle 2">
            <a:extLst>
              <a:ext uri="{FF2B5EF4-FFF2-40B4-BE49-F238E27FC236}">
                <a16:creationId xmlns:a16="http://schemas.microsoft.com/office/drawing/2014/main" id="{F16EC357-05FF-47CD-A75D-F402970876D2}"/>
              </a:ext>
            </a:extLst>
          </p:cNvPr>
          <p:cNvSpPr txBox="1">
            <a:spLocks/>
          </p:cNvSpPr>
          <p:nvPr userDrawn="1"/>
        </p:nvSpPr>
        <p:spPr>
          <a:xfrm>
            <a:off x="544286" y="5193640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gium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Ucargo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oningi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lizabethlaa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706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830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chelen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C60B50D3-F3FB-425A-BBDD-8AA37F846259}"/>
              </a:ext>
            </a:extLst>
          </p:cNvPr>
          <p:cNvSpPr txBox="1">
            <a:spLocks/>
          </p:cNvSpPr>
          <p:nvPr userDrawn="1"/>
        </p:nvSpPr>
        <p:spPr>
          <a:xfrm>
            <a:off x="3028407" y="5204526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ingapore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4 Battery Road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ank of China Building #25-01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49908 Singapore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376F25A5-E6D0-4B19-95FA-4660577D68F7}"/>
              </a:ext>
            </a:extLst>
          </p:cNvPr>
          <p:cNvSpPr txBox="1">
            <a:spLocks/>
          </p:cNvSpPr>
          <p:nvPr userDrawn="1"/>
        </p:nvSpPr>
        <p:spPr>
          <a:xfrm>
            <a:off x="5741125" y="5193638"/>
            <a:ext cx="2788921" cy="1524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il us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raaiven</a:t>
            </a: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7</a:t>
            </a: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3140 </a:t>
            </a:r>
            <a:r>
              <a:rPr lang="en-US" sz="1400" b="0" dirty="0" err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Keerbergen</a:t>
            </a:r>
            <a:endParaRPr lang="en-US" sz="1400" b="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n-US" sz="1400" b="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elgium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74842E9B-7192-4F95-80C7-503177476FEB}"/>
              </a:ext>
            </a:extLst>
          </p:cNvPr>
          <p:cNvSpPr txBox="1">
            <a:spLocks/>
          </p:cNvSpPr>
          <p:nvPr userDrawn="1"/>
        </p:nvSpPr>
        <p:spPr>
          <a:xfrm>
            <a:off x="544283" y="4560953"/>
            <a:ext cx="2788921" cy="3712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None/>
              <a:defRPr sz="3200" b="1" kern="1200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lang="en-US" sz="2000" b="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8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None/>
              <a:defRPr sz="1600" kern="1200">
                <a:solidFill>
                  <a:schemeClr val="tx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800" b="1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ww.nallian.com</a:t>
            </a:r>
            <a:endParaRPr lang="en-US" sz="1400" b="1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072029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, fad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-44132" y="6504593"/>
            <a:ext cx="435485" cy="435485"/>
            <a:chOff x="1744138" y="6151465"/>
            <a:chExt cx="900952" cy="900952"/>
          </a:xfrm>
        </p:grpSpPr>
        <p:sp>
          <p:nvSpPr>
            <p:cNvPr id="16" name="Oval 15"/>
            <p:cNvSpPr/>
            <p:nvPr userDrawn="1"/>
          </p:nvSpPr>
          <p:spPr>
            <a:xfrm>
              <a:off x="1744138" y="6151465"/>
              <a:ext cx="900952" cy="90095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1827166" y="6263794"/>
              <a:ext cx="669053" cy="688621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18" name="Block Arc 17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Block Arc 18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Block Arc 19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90698" y="224443"/>
            <a:ext cx="11438750" cy="940213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11778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1"/>
            <a:ext cx="12192000" cy="5554943"/>
          </a:xfrm>
          <a:prstGeom prst="rect">
            <a:avLst/>
          </a:prstGeom>
          <a:gradFill>
            <a:gsLst>
              <a:gs pos="0">
                <a:srgbClr val="1988E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5554944"/>
            <a:ext cx="12192000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-44132" y="6504593"/>
            <a:ext cx="435485" cy="43548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4000" y="6558888"/>
            <a:ext cx="323394" cy="332852"/>
            <a:chOff x="1108747" y="836614"/>
            <a:chExt cx="5715613" cy="5896288"/>
          </a:xfrm>
          <a:solidFill>
            <a:srgbClr val="F2F2F2"/>
          </a:solidFill>
          <a:effectLst/>
        </p:grpSpPr>
        <p:sp>
          <p:nvSpPr>
            <p:cNvPr id="31" name="Block Arc 30"/>
            <p:cNvSpPr/>
            <p:nvPr/>
          </p:nvSpPr>
          <p:spPr>
            <a:xfrm>
              <a:off x="2797018" y="836614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Block Arc 31"/>
            <p:cNvSpPr/>
            <p:nvPr/>
          </p:nvSpPr>
          <p:spPr>
            <a:xfrm rot="7200000">
              <a:off x="2936571" y="2845112"/>
              <a:ext cx="3887786" cy="3887793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" name="Block Arc 32"/>
            <p:cNvSpPr/>
            <p:nvPr/>
          </p:nvSpPr>
          <p:spPr>
            <a:xfrm rot="14400000">
              <a:off x="1108747" y="1888217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6375563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- Fad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698" y="224443"/>
            <a:ext cx="11438750" cy="940213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0698" y="1549474"/>
            <a:ext cx="11438750" cy="48014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1B7E3-92DF-4A58-8318-625D315DA5C6}"/>
              </a:ext>
            </a:extLst>
          </p:cNvPr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D3C931F-000C-4CE5-85E4-916412C55609}"/>
              </a:ext>
            </a:extLst>
          </p:cNvPr>
          <p:cNvGrpSpPr/>
          <p:nvPr userDrawn="1"/>
        </p:nvGrpSpPr>
        <p:grpSpPr>
          <a:xfrm>
            <a:off x="-44132" y="6504593"/>
            <a:ext cx="435485" cy="435485"/>
            <a:chOff x="1744138" y="6151465"/>
            <a:chExt cx="900952" cy="90095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8FCC840-320A-492A-967D-A6052B8D998B}"/>
                </a:ext>
              </a:extLst>
            </p:cNvPr>
            <p:cNvSpPr/>
            <p:nvPr userDrawn="1"/>
          </p:nvSpPr>
          <p:spPr>
            <a:xfrm>
              <a:off x="1744138" y="6151465"/>
              <a:ext cx="900952" cy="90095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F9F5C0D-8365-4BF7-8197-ACD58DC08B44}"/>
                </a:ext>
              </a:extLst>
            </p:cNvPr>
            <p:cNvGrpSpPr/>
            <p:nvPr userDrawn="1"/>
          </p:nvGrpSpPr>
          <p:grpSpPr>
            <a:xfrm>
              <a:off x="1827166" y="6263794"/>
              <a:ext cx="669053" cy="688621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15" name="Block Arc 14">
                <a:extLst>
                  <a:ext uri="{FF2B5EF4-FFF2-40B4-BE49-F238E27FC236}">
                    <a16:creationId xmlns:a16="http://schemas.microsoft.com/office/drawing/2014/main" id="{BB8ADA88-349F-4829-A065-45243EF3D5F8}"/>
                  </a:ext>
                </a:extLst>
              </p:cNvPr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Block Arc 15">
                <a:extLst>
                  <a:ext uri="{FF2B5EF4-FFF2-40B4-BE49-F238E27FC236}">
                    <a16:creationId xmlns:a16="http://schemas.microsoft.com/office/drawing/2014/main" id="{B10C154B-3522-4D18-BB4C-FF5DA4C5010F}"/>
                  </a:ext>
                </a:extLst>
              </p:cNvPr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Block Arc 16">
                <a:extLst>
                  <a:ext uri="{FF2B5EF4-FFF2-40B4-BE49-F238E27FC236}">
                    <a16:creationId xmlns:a16="http://schemas.microsoft.com/office/drawing/2014/main" id="{5780595A-C54B-4FFE-AF9C-850AD52BAFC2}"/>
                  </a:ext>
                </a:extLst>
              </p:cNvPr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418829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1800" b="0" spc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-67638" y="6300650"/>
            <a:ext cx="2432076" cy="923330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4400" b="1" i="0" spc="-30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grpSp>
        <p:nvGrpSpPr>
          <p:cNvPr id="2" name="Group 1"/>
          <p:cNvGrpSpPr/>
          <p:nvPr userDrawn="1"/>
        </p:nvGrpSpPr>
        <p:grpSpPr>
          <a:xfrm>
            <a:off x="1760764" y="6151465"/>
            <a:ext cx="900952" cy="900952"/>
            <a:chOff x="1744138" y="6151465"/>
            <a:chExt cx="900952" cy="900952"/>
          </a:xfrm>
        </p:grpSpPr>
        <p:sp>
          <p:nvSpPr>
            <p:cNvPr id="14" name="Oval 13"/>
            <p:cNvSpPr/>
            <p:nvPr userDrawn="1"/>
          </p:nvSpPr>
          <p:spPr>
            <a:xfrm>
              <a:off x="1744138" y="6151465"/>
              <a:ext cx="900952" cy="90095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1827166" y="6263794"/>
              <a:ext cx="669053" cy="688621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16" name="Block Arc 15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Block Arc 16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Block Arc 17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9" name="Rectangle 18"/>
          <p:cNvSpPr/>
          <p:nvPr userDrawn="1"/>
        </p:nvSpPr>
        <p:spPr>
          <a:xfrm>
            <a:off x="2645090" y="6300650"/>
            <a:ext cx="9546910" cy="1002729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en-US" sz="4400" b="1" i="0" kern="1200" spc="-30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data sharing for business collaboration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Oval 22"/>
          <p:cNvSpPr/>
          <p:nvPr userDrawn="1"/>
        </p:nvSpPr>
        <p:spPr>
          <a:xfrm>
            <a:off x="4610027" y="-608801"/>
            <a:ext cx="2999659" cy="2999659"/>
          </a:xfrm>
          <a:prstGeom prst="ellipse">
            <a:avLst/>
          </a:prstGeom>
          <a:solidFill>
            <a:schemeClr val="accent1">
              <a:lumMod val="40000"/>
              <a:lumOff val="60000"/>
              <a:alpha val="3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4" name="Group 23"/>
          <p:cNvGrpSpPr/>
          <p:nvPr userDrawn="1"/>
        </p:nvGrpSpPr>
        <p:grpSpPr>
          <a:xfrm>
            <a:off x="4886460" y="-243122"/>
            <a:ext cx="2227567" cy="2292717"/>
            <a:chOff x="1108747" y="836614"/>
            <a:chExt cx="5715613" cy="5896288"/>
          </a:xfrm>
          <a:solidFill>
            <a:schemeClr val="bg1"/>
          </a:solidFill>
          <a:effectLst/>
        </p:grpSpPr>
        <p:sp>
          <p:nvSpPr>
            <p:cNvPr id="25" name="Block Arc 24"/>
            <p:cNvSpPr/>
            <p:nvPr/>
          </p:nvSpPr>
          <p:spPr>
            <a:xfrm>
              <a:off x="2797018" y="836614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28" name="Block Arc 27"/>
            <p:cNvSpPr/>
            <p:nvPr/>
          </p:nvSpPr>
          <p:spPr>
            <a:xfrm rot="7200000">
              <a:off x="2936571" y="2845112"/>
              <a:ext cx="3887786" cy="3887793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4" name="Block Arc 33"/>
            <p:cNvSpPr/>
            <p:nvPr/>
          </p:nvSpPr>
          <p:spPr>
            <a:xfrm rot="14400000">
              <a:off x="1108747" y="1888217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36743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,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7012421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7012421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031159-0A02-4A3D-9253-450EC341EB1B}"/>
              </a:ext>
            </a:extLst>
          </p:cNvPr>
          <p:cNvSpPr/>
          <p:nvPr userDrawn="1"/>
        </p:nvSpPr>
        <p:spPr>
          <a:xfrm>
            <a:off x="10880436" y="6336145"/>
            <a:ext cx="1209964" cy="4433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95F177-DB51-4E48-AB31-916641C04E4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897092" y="0"/>
            <a:ext cx="4294908" cy="6857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buNone/>
              <a:tabLst>
                <a:tab pos="0" algn="l"/>
              </a:tabLst>
              <a:defRPr sz="2400" b="0" spc="0">
                <a:solidFill>
                  <a:schemeClr val="bg1"/>
                </a:solidFill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7362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on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Autofit/>
          </a:bodyPr>
          <a:lstStyle>
            <a:lvl1pPr marL="0" indent="0" algn="ctr">
              <a:buNone/>
              <a:defRPr sz="1800" b="0" spc="0">
                <a:solidFill>
                  <a:schemeClr val="accent1">
                    <a:lumMod val="5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Rectangle 17"/>
          <p:cNvSpPr/>
          <p:nvPr userDrawn="1"/>
        </p:nvSpPr>
        <p:spPr>
          <a:xfrm>
            <a:off x="-67638" y="6300650"/>
            <a:ext cx="2432076" cy="923330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4400" b="1" i="0" spc="-30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2645090" y="6300650"/>
            <a:ext cx="9546910" cy="1002729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en-US" sz="4400" b="1" i="0" kern="1200" spc="-30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data sharing for business collaboration</a:t>
            </a:r>
          </a:p>
        </p:txBody>
      </p:sp>
      <p:grpSp>
        <p:nvGrpSpPr>
          <p:cNvPr id="26" name="Group 25"/>
          <p:cNvGrpSpPr/>
          <p:nvPr userDrawn="1"/>
        </p:nvGrpSpPr>
        <p:grpSpPr>
          <a:xfrm>
            <a:off x="1760764" y="6151465"/>
            <a:ext cx="900952" cy="900952"/>
            <a:chOff x="1392067" y="5700745"/>
            <a:chExt cx="1476376" cy="1476376"/>
          </a:xfrm>
        </p:grpSpPr>
        <p:sp>
          <p:nvSpPr>
            <p:cNvPr id="27" name="Oval 26"/>
            <p:cNvSpPr/>
            <p:nvPr userDrawn="1"/>
          </p:nvSpPr>
          <p:spPr>
            <a:xfrm>
              <a:off x="1392067" y="5700745"/>
              <a:ext cx="1476376" cy="14763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528123" y="5884816"/>
              <a:ext cx="1096367" cy="1128432"/>
              <a:chOff x="1108747" y="836614"/>
              <a:chExt cx="5715613" cy="5896288"/>
            </a:xfrm>
            <a:solidFill>
              <a:schemeClr val="accent1"/>
            </a:solidFill>
            <a:effectLst/>
          </p:grpSpPr>
          <p:sp>
            <p:nvSpPr>
              <p:cNvPr id="29" name="Block Arc 28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Block Arc 29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Block Arc 30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12" name="Group 11"/>
          <p:cNvGrpSpPr/>
          <p:nvPr userDrawn="1"/>
        </p:nvGrpSpPr>
        <p:grpSpPr>
          <a:xfrm>
            <a:off x="4610024" y="-617114"/>
            <a:ext cx="2999659" cy="2999659"/>
            <a:chOff x="1760764" y="6151465"/>
            <a:chExt cx="900952" cy="900952"/>
          </a:xfrm>
        </p:grpSpPr>
        <p:sp>
          <p:nvSpPr>
            <p:cNvPr id="13" name="Oval 12"/>
            <p:cNvSpPr/>
            <p:nvPr userDrawn="1"/>
          </p:nvSpPr>
          <p:spPr>
            <a:xfrm>
              <a:off x="1760764" y="6151465"/>
              <a:ext cx="900952" cy="900952"/>
            </a:xfrm>
            <a:prstGeom prst="ellipse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/>
            <p:cNvGrpSpPr/>
            <p:nvPr userDrawn="1"/>
          </p:nvGrpSpPr>
          <p:grpSpPr>
            <a:xfrm>
              <a:off x="1843792" y="6263794"/>
              <a:ext cx="669053" cy="688621"/>
              <a:chOff x="1108747" y="836614"/>
              <a:chExt cx="5715613" cy="5896288"/>
            </a:xfrm>
            <a:solidFill>
              <a:schemeClr val="accent1">
                <a:lumMod val="50000"/>
              </a:schemeClr>
            </a:solidFill>
            <a:effectLst/>
          </p:grpSpPr>
          <p:sp>
            <p:nvSpPr>
              <p:cNvPr id="15" name="Block Arc 14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Block Arc 15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solidFill>
                <a:schemeClr val="accent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Block Arc 16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0930996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accent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/>
          <p:nvPr userDrawn="1"/>
        </p:nvSpPr>
        <p:spPr>
          <a:xfrm>
            <a:off x="-67638" y="6300650"/>
            <a:ext cx="2432076" cy="923330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4400" b="1" i="0" spc="-300" dirty="0">
                <a:solidFill>
                  <a:schemeClr val="bg1">
                    <a:alpha val="21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19" name="Rectangle 18"/>
          <p:cNvSpPr/>
          <p:nvPr userDrawn="1"/>
        </p:nvSpPr>
        <p:spPr>
          <a:xfrm>
            <a:off x="2645090" y="6300650"/>
            <a:ext cx="9546910" cy="1002729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r>
              <a:rPr lang="en-US" sz="4400" b="1" i="0" kern="1200" spc="-300" dirty="0">
                <a:solidFill>
                  <a:schemeClr val="bg1">
                    <a:alpha val="21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data sharing for business collaboration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1760764" y="6151465"/>
            <a:ext cx="900952" cy="900952"/>
            <a:chOff x="1760764" y="6151465"/>
            <a:chExt cx="900952" cy="900952"/>
          </a:xfrm>
        </p:grpSpPr>
        <p:sp>
          <p:nvSpPr>
            <p:cNvPr id="27" name="Oval 26"/>
            <p:cNvSpPr/>
            <p:nvPr userDrawn="1"/>
          </p:nvSpPr>
          <p:spPr>
            <a:xfrm>
              <a:off x="1760764" y="6151465"/>
              <a:ext cx="900952" cy="900952"/>
            </a:xfrm>
            <a:prstGeom prst="ellipse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8" name="Group 27"/>
            <p:cNvGrpSpPr/>
            <p:nvPr userDrawn="1"/>
          </p:nvGrpSpPr>
          <p:grpSpPr>
            <a:xfrm>
              <a:off x="1843792" y="6263794"/>
              <a:ext cx="669053" cy="688621"/>
              <a:chOff x="1108747" y="836614"/>
              <a:chExt cx="5715613" cy="5896288"/>
            </a:xfrm>
            <a:solidFill>
              <a:schemeClr val="accent1">
                <a:lumMod val="50000"/>
              </a:schemeClr>
            </a:solidFill>
            <a:effectLst/>
          </p:grpSpPr>
          <p:sp>
            <p:nvSpPr>
              <p:cNvPr id="29" name="Block Arc 28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Block Arc 29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Block Arc 30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3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1" y="2652352"/>
            <a:ext cx="12191999" cy="1163189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596169" y="-608801"/>
            <a:ext cx="2999659" cy="2999659"/>
            <a:chOff x="1760764" y="6151465"/>
            <a:chExt cx="900952" cy="900952"/>
          </a:xfrm>
        </p:grpSpPr>
        <p:sp>
          <p:nvSpPr>
            <p:cNvPr id="22" name="Oval 21"/>
            <p:cNvSpPr/>
            <p:nvPr userDrawn="1"/>
          </p:nvSpPr>
          <p:spPr>
            <a:xfrm>
              <a:off x="1760764" y="6151465"/>
              <a:ext cx="900952" cy="900952"/>
            </a:xfrm>
            <a:prstGeom prst="ellipse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3" name="Group 22"/>
            <p:cNvGrpSpPr/>
            <p:nvPr userDrawn="1"/>
          </p:nvGrpSpPr>
          <p:grpSpPr>
            <a:xfrm>
              <a:off x="1843792" y="6263794"/>
              <a:ext cx="669053" cy="688621"/>
              <a:chOff x="1108747" y="836614"/>
              <a:chExt cx="5715613" cy="5896288"/>
            </a:xfrm>
            <a:solidFill>
              <a:schemeClr val="accent1">
                <a:lumMod val="50000"/>
              </a:schemeClr>
            </a:solidFill>
            <a:effectLst/>
          </p:grpSpPr>
          <p:sp>
            <p:nvSpPr>
              <p:cNvPr id="24" name="Block Arc 23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Block Arc 24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Block Arc 31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4448470"/>
            <a:ext cx="12192000" cy="1202088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400" b="0" spc="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resenter Name</a:t>
            </a:r>
          </a:p>
          <a:p>
            <a:r>
              <a:rPr lang="en-US" dirty="0"/>
              <a:t>Coordinates</a:t>
            </a:r>
          </a:p>
        </p:txBody>
      </p:sp>
      <p:grpSp>
        <p:nvGrpSpPr>
          <p:cNvPr id="42" name="Group 41"/>
          <p:cNvGrpSpPr/>
          <p:nvPr userDrawn="1"/>
        </p:nvGrpSpPr>
        <p:grpSpPr>
          <a:xfrm>
            <a:off x="2285298" y="5645551"/>
            <a:ext cx="7418282" cy="268802"/>
            <a:chOff x="2595872" y="5621298"/>
            <a:chExt cx="7418282" cy="268802"/>
          </a:xfrm>
        </p:grpSpPr>
        <p:pic>
          <p:nvPicPr>
            <p:cNvPr id="36" name="Picture 35"/>
            <p:cNvPicPr>
              <a:picLocks noChangeAspect="1"/>
            </p:cNvPicPr>
            <p:nvPr userDrawn="1"/>
          </p:nvPicPr>
          <p:blipFill rotWithShape="1">
            <a:blip r:embed="rId2">
              <a:alphaModFix amt="50000"/>
            </a:blip>
            <a:srcRect l="27763" t="29572" r="30225" b="28201"/>
            <a:stretch/>
          </p:blipFill>
          <p:spPr>
            <a:xfrm>
              <a:off x="2595872" y="5621298"/>
              <a:ext cx="256001" cy="253453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 userDrawn="1"/>
          </p:nvPicPr>
          <p:blipFill>
            <a:blip r:embed="rId3">
              <a:alphaModFix amt="50000"/>
            </a:blip>
            <a:stretch>
              <a:fillRect/>
            </a:stretch>
          </p:blipFill>
          <p:spPr>
            <a:xfrm>
              <a:off x="4704006" y="5666033"/>
              <a:ext cx="185840" cy="185840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 userDrawn="1"/>
          </p:nvPicPr>
          <p:blipFill>
            <a:blip r:embed="rId4">
              <a:alphaModFix amt="50000"/>
            </a:blip>
            <a:stretch>
              <a:fillRect/>
            </a:stretch>
          </p:blipFill>
          <p:spPr>
            <a:xfrm>
              <a:off x="7140368" y="5635286"/>
              <a:ext cx="204403" cy="204403"/>
            </a:xfrm>
            <a:prstGeom prst="rect">
              <a:avLst/>
            </a:prstGeom>
          </p:spPr>
        </p:pic>
        <p:sp>
          <p:nvSpPr>
            <p:cNvPr id="39" name="Rectangle 38"/>
            <p:cNvSpPr/>
            <p:nvPr userDrawn="1"/>
          </p:nvSpPr>
          <p:spPr>
            <a:xfrm>
              <a:off x="4889846" y="5643879"/>
              <a:ext cx="2167581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>
                  <a:solidFill>
                    <a:schemeClr val="bg1">
                      <a:alpha val="50000"/>
                    </a:schemeClr>
                  </a:solidFill>
                  <a:latin typeface="Open Sans" charset="0"/>
                  <a:ea typeface="Open Sans" charset="0"/>
                  <a:cs typeface="Open Sans" charset="0"/>
                </a:rPr>
                <a:t>https://www.facebook.com/nallian/</a:t>
              </a:r>
            </a:p>
          </p:txBody>
        </p:sp>
        <p:sp>
          <p:nvSpPr>
            <p:cNvPr id="40" name="Rectangle 39"/>
            <p:cNvSpPr/>
            <p:nvPr userDrawn="1"/>
          </p:nvSpPr>
          <p:spPr>
            <a:xfrm>
              <a:off x="2804194" y="5639848"/>
              <a:ext cx="1933543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>
                  <a:solidFill>
                    <a:schemeClr val="bg1">
                      <a:alpha val="50000"/>
                    </a:schemeClr>
                  </a:solidFill>
                  <a:latin typeface="Open Sans" charset="0"/>
                  <a:ea typeface="Open Sans" charset="0"/>
                  <a:cs typeface="Open Sans" charset="0"/>
                </a:rPr>
                <a:t>https://</a:t>
              </a:r>
              <a:r>
                <a:rPr lang="en-US" sz="1000" dirty="0" err="1">
                  <a:solidFill>
                    <a:schemeClr val="bg1">
                      <a:alpha val="50000"/>
                    </a:schemeClr>
                  </a:solidFill>
                  <a:latin typeface="Open Sans" charset="0"/>
                  <a:ea typeface="Open Sans" charset="0"/>
                  <a:cs typeface="Open Sans" charset="0"/>
                </a:rPr>
                <a:t>twitter.com</a:t>
              </a:r>
              <a:r>
                <a:rPr lang="en-US" sz="1000" dirty="0">
                  <a:solidFill>
                    <a:schemeClr val="bg1">
                      <a:alpha val="50000"/>
                    </a:schemeClr>
                  </a:solidFill>
                  <a:latin typeface="Open Sans" charset="0"/>
                  <a:ea typeface="Open Sans" charset="0"/>
                  <a:cs typeface="Open Sans" charset="0"/>
                </a:rPr>
                <a:t>/</a:t>
              </a:r>
              <a:r>
                <a:rPr lang="en-US" sz="1000" dirty="0" err="1">
                  <a:solidFill>
                    <a:schemeClr val="bg1">
                      <a:alpha val="50000"/>
                    </a:schemeClr>
                  </a:solidFill>
                  <a:latin typeface="Open Sans" charset="0"/>
                  <a:ea typeface="Open Sans" charset="0"/>
                  <a:cs typeface="Open Sans" charset="0"/>
                </a:rPr>
                <a:t>NallianInc</a:t>
              </a:r>
              <a:endParaRPr lang="en-US" sz="1000" dirty="0">
                <a:solidFill>
                  <a:schemeClr val="bg1">
                    <a:alpha val="50000"/>
                  </a:schemeClr>
                </a:solidFill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41" name="Rectangle 40"/>
            <p:cNvSpPr/>
            <p:nvPr userDrawn="1"/>
          </p:nvSpPr>
          <p:spPr>
            <a:xfrm>
              <a:off x="7336818" y="5626129"/>
              <a:ext cx="2677336" cy="24622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1000" dirty="0">
                  <a:solidFill>
                    <a:schemeClr val="bg1">
                      <a:alpha val="50000"/>
                    </a:schemeClr>
                  </a:solidFill>
                  <a:latin typeface="Open Sans" charset="0"/>
                  <a:ea typeface="Open Sans" charset="0"/>
                  <a:cs typeface="Open Sans" charset="0"/>
                </a:rPr>
                <a:t>https://www.linkedin.com/company/nallia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21996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698" y="224443"/>
            <a:ext cx="11438750" cy="940213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0698" y="1549474"/>
            <a:ext cx="11438750" cy="48014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accent1"/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-44132" y="6504593"/>
            <a:ext cx="435485" cy="435485"/>
            <a:chOff x="1744138" y="6151465"/>
            <a:chExt cx="900952" cy="900952"/>
          </a:xfrm>
        </p:grpSpPr>
        <p:sp>
          <p:nvSpPr>
            <p:cNvPr id="24" name="Oval 23"/>
            <p:cNvSpPr/>
            <p:nvPr userDrawn="1"/>
          </p:nvSpPr>
          <p:spPr>
            <a:xfrm>
              <a:off x="1744138" y="6151465"/>
              <a:ext cx="900952" cy="90095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" name="Group 24"/>
            <p:cNvGrpSpPr/>
            <p:nvPr userDrawn="1"/>
          </p:nvGrpSpPr>
          <p:grpSpPr>
            <a:xfrm>
              <a:off x="1827166" y="6263794"/>
              <a:ext cx="669053" cy="688621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26" name="Block Arc 25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Block Arc 26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lock Arc 27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386806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Fad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698" y="224443"/>
            <a:ext cx="11438750" cy="940213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0698" y="1549474"/>
            <a:ext cx="11438750" cy="48014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9F1B7E3-92DF-4A58-8318-625D315DA5C6}"/>
              </a:ext>
            </a:extLst>
          </p:cNvPr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1D3C931F-000C-4CE5-85E4-916412C55609}"/>
              </a:ext>
            </a:extLst>
          </p:cNvPr>
          <p:cNvGrpSpPr/>
          <p:nvPr userDrawn="1"/>
        </p:nvGrpSpPr>
        <p:grpSpPr>
          <a:xfrm>
            <a:off x="-44132" y="6504593"/>
            <a:ext cx="435485" cy="435485"/>
            <a:chOff x="1744138" y="6151465"/>
            <a:chExt cx="900952" cy="900952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28FCC840-320A-492A-967D-A6052B8D998B}"/>
                </a:ext>
              </a:extLst>
            </p:cNvPr>
            <p:cNvSpPr/>
            <p:nvPr userDrawn="1"/>
          </p:nvSpPr>
          <p:spPr>
            <a:xfrm>
              <a:off x="1744138" y="6151465"/>
              <a:ext cx="900952" cy="90095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5F9F5C0D-8365-4BF7-8197-ACD58DC08B44}"/>
                </a:ext>
              </a:extLst>
            </p:cNvPr>
            <p:cNvGrpSpPr/>
            <p:nvPr userDrawn="1"/>
          </p:nvGrpSpPr>
          <p:grpSpPr>
            <a:xfrm>
              <a:off x="1827166" y="6263794"/>
              <a:ext cx="669053" cy="688621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15" name="Block Arc 14">
                <a:extLst>
                  <a:ext uri="{FF2B5EF4-FFF2-40B4-BE49-F238E27FC236}">
                    <a16:creationId xmlns:a16="http://schemas.microsoft.com/office/drawing/2014/main" id="{BB8ADA88-349F-4829-A065-45243EF3D5F8}"/>
                  </a:ext>
                </a:extLst>
              </p:cNvPr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Block Arc 15">
                <a:extLst>
                  <a:ext uri="{FF2B5EF4-FFF2-40B4-BE49-F238E27FC236}">
                    <a16:creationId xmlns:a16="http://schemas.microsoft.com/office/drawing/2014/main" id="{B10C154B-3522-4D18-BB4C-FF5DA4C5010F}"/>
                  </a:ext>
                </a:extLst>
              </p:cNvPr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Block Arc 16">
                <a:extLst>
                  <a:ext uri="{FF2B5EF4-FFF2-40B4-BE49-F238E27FC236}">
                    <a16:creationId xmlns:a16="http://schemas.microsoft.com/office/drawing/2014/main" id="{5780595A-C54B-4FFE-AF9C-850AD52BAFC2}"/>
                  </a:ext>
                </a:extLst>
              </p:cNvPr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769287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698" y="224443"/>
            <a:ext cx="11438750" cy="940213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0698" y="1549474"/>
            <a:ext cx="11438750" cy="48014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19169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Doub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0698" y="224443"/>
            <a:ext cx="11438750" cy="940213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0698" y="1549474"/>
            <a:ext cx="5612279" cy="480144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Rectangle 21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accent1"/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-44132" y="6504593"/>
            <a:ext cx="435485" cy="435485"/>
            <a:chOff x="1744138" y="6151465"/>
            <a:chExt cx="900952" cy="900952"/>
          </a:xfrm>
        </p:grpSpPr>
        <p:sp>
          <p:nvSpPr>
            <p:cNvPr id="24" name="Oval 23"/>
            <p:cNvSpPr/>
            <p:nvPr userDrawn="1"/>
          </p:nvSpPr>
          <p:spPr>
            <a:xfrm>
              <a:off x="1744138" y="6151465"/>
              <a:ext cx="900952" cy="90095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5" name="Group 24"/>
            <p:cNvGrpSpPr/>
            <p:nvPr userDrawn="1"/>
          </p:nvGrpSpPr>
          <p:grpSpPr>
            <a:xfrm>
              <a:off x="1827166" y="6263794"/>
              <a:ext cx="669053" cy="688621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26" name="Block Arc 25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Block Arc 26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Block Arc 27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084B010A-81FB-49A8-A84A-D17552936395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17169" y="1547239"/>
            <a:ext cx="5612279" cy="480144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9669283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accent1"/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-44132" y="6504593"/>
            <a:ext cx="435485" cy="435485"/>
            <a:chOff x="1744138" y="6151465"/>
            <a:chExt cx="900952" cy="900952"/>
          </a:xfrm>
        </p:grpSpPr>
        <p:sp>
          <p:nvSpPr>
            <p:cNvPr id="16" name="Oval 15"/>
            <p:cNvSpPr/>
            <p:nvPr userDrawn="1"/>
          </p:nvSpPr>
          <p:spPr>
            <a:xfrm>
              <a:off x="1744138" y="6151465"/>
              <a:ext cx="900952" cy="90095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1827166" y="6263794"/>
              <a:ext cx="669053" cy="688621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18" name="Block Arc 17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Block Arc 18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Block Arc 19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90698" y="224443"/>
            <a:ext cx="11438750" cy="940213"/>
          </a:xfrm>
        </p:spPr>
        <p:txBody>
          <a:bodyPr/>
          <a:lstStyle>
            <a:lvl1pPr algn="ctr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254614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, fad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-44132" y="6504593"/>
            <a:ext cx="435485" cy="435485"/>
            <a:chOff x="1744138" y="6151465"/>
            <a:chExt cx="900952" cy="900952"/>
          </a:xfrm>
        </p:grpSpPr>
        <p:sp>
          <p:nvSpPr>
            <p:cNvPr id="16" name="Oval 15"/>
            <p:cNvSpPr/>
            <p:nvPr userDrawn="1"/>
          </p:nvSpPr>
          <p:spPr>
            <a:xfrm>
              <a:off x="1744138" y="6151465"/>
              <a:ext cx="900952" cy="900952"/>
            </a:xfrm>
            <a:prstGeom prst="ellipse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1827166" y="6263794"/>
              <a:ext cx="669053" cy="688621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18" name="Block Arc 17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Block Arc 18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Block Arc 19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390698" y="224443"/>
            <a:ext cx="11438750" cy="940213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671164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182613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medium log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4" name="Oval 3"/>
          <p:cNvSpPr/>
          <p:nvPr userDrawn="1"/>
        </p:nvSpPr>
        <p:spPr>
          <a:xfrm>
            <a:off x="-44132" y="6504593"/>
            <a:ext cx="435485" cy="435485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/>
          <p:cNvGrpSpPr/>
          <p:nvPr userDrawn="1"/>
        </p:nvGrpSpPr>
        <p:grpSpPr>
          <a:xfrm>
            <a:off x="-4000" y="6558888"/>
            <a:ext cx="323394" cy="332852"/>
            <a:chOff x="1108747" y="836614"/>
            <a:chExt cx="5715613" cy="5896288"/>
          </a:xfrm>
          <a:solidFill>
            <a:schemeClr val="accent1"/>
          </a:solidFill>
          <a:effectLst/>
        </p:grpSpPr>
        <p:sp>
          <p:nvSpPr>
            <p:cNvPr id="6" name="Block Arc 5"/>
            <p:cNvSpPr/>
            <p:nvPr/>
          </p:nvSpPr>
          <p:spPr>
            <a:xfrm>
              <a:off x="2797018" y="836614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" name="Block Arc 6"/>
            <p:cNvSpPr/>
            <p:nvPr/>
          </p:nvSpPr>
          <p:spPr>
            <a:xfrm rot="7200000">
              <a:off x="2936571" y="2845112"/>
              <a:ext cx="3887786" cy="3887793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8" name="Block Arc 7"/>
            <p:cNvSpPr/>
            <p:nvPr/>
          </p:nvSpPr>
          <p:spPr>
            <a:xfrm rot="14400000">
              <a:off x="1108747" y="1888217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113537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2124076"/>
            <a:ext cx="5307060" cy="4341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0989403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A49AA2-D478-48B9-8E3A-C869556902A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08816" y="2125837"/>
            <a:ext cx="5307060" cy="4349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4663DE2-CAE1-4CAF-8065-E4A1C965887B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4350" y="1253408"/>
            <a:ext cx="5320364" cy="7373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ctr">
              <a:buNone/>
              <a:tabLst>
                <a:tab pos="0" algn="l"/>
              </a:tabLst>
              <a:defRPr b="1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81C4BA-E562-45B0-B4B3-98BB36C3112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08816" y="1255170"/>
            <a:ext cx="5307060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buNone/>
              <a:defRPr lang="en-US" sz="24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7282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886117" y="-1"/>
            <a:ext cx="11305883" cy="6858001"/>
            <a:chOff x="886117" y="-1"/>
            <a:chExt cx="10482613" cy="6903076"/>
          </a:xfrm>
        </p:grpSpPr>
        <p:sp>
          <p:nvSpPr>
            <p:cNvPr id="33" name="Rectangle 32"/>
            <p:cNvSpPr/>
            <p:nvPr/>
          </p:nvSpPr>
          <p:spPr>
            <a:xfrm>
              <a:off x="1523999" y="5947774"/>
              <a:ext cx="9144002" cy="9359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34" name="Round Same Side Corner Rectangle 33"/>
            <p:cNvSpPr/>
            <p:nvPr/>
          </p:nvSpPr>
          <p:spPr>
            <a:xfrm rot="16200000">
              <a:off x="3959481" y="-506173"/>
              <a:ext cx="4335885" cy="10482612"/>
            </a:xfrm>
            <a:prstGeom prst="round2SameRect">
              <a:avLst>
                <a:gd name="adj1" fmla="val 9063"/>
                <a:gd name="adj2" fmla="val 0"/>
              </a:avLst>
            </a:prstGeom>
            <a:solidFill>
              <a:srgbClr val="47ABD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1536880" y="0"/>
              <a:ext cx="9144002" cy="93598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BE"/>
            </a:p>
          </p:txBody>
        </p:sp>
        <p:sp>
          <p:nvSpPr>
            <p:cNvPr id="36" name="Round Same Side Corner Rectangle 35"/>
            <p:cNvSpPr/>
            <p:nvPr/>
          </p:nvSpPr>
          <p:spPr>
            <a:xfrm rot="16200000">
              <a:off x="4923248" y="-4037132"/>
              <a:ext cx="2408349" cy="10482611"/>
            </a:xfrm>
            <a:prstGeom prst="round2SameRect">
              <a:avLst/>
            </a:prstGeom>
            <a:solidFill>
              <a:srgbClr val="356279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latin typeface="Century Gothic" panose="020B0502020202020204" pitchFamily="34" charset="0"/>
              </a:endParaRPr>
            </a:p>
          </p:txBody>
        </p:sp>
      </p:grpSp>
      <p:sp>
        <p:nvSpPr>
          <p:cNvPr id="38" name="Tekstvak 13"/>
          <p:cNvSpPr txBox="1"/>
          <p:nvPr/>
        </p:nvSpPr>
        <p:spPr>
          <a:xfrm>
            <a:off x="2736388" y="677813"/>
            <a:ext cx="8588103" cy="1446550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4400" dirty="0">
                <a:solidFill>
                  <a:srgbClr val="FFFFFF"/>
                </a:solidFill>
                <a:latin typeface="Century Gothic"/>
                <a:cs typeface="Century Gothic"/>
              </a:rPr>
              <a:t>Nallian</a:t>
            </a:r>
            <a:endParaRPr lang="en-US" sz="4400" dirty="0">
              <a:solidFill>
                <a:schemeClr val="bg1"/>
              </a:solidFill>
              <a:latin typeface="Century Gothic"/>
              <a:cs typeface="Century Gothic"/>
            </a:endParaRPr>
          </a:p>
          <a:p>
            <a:endParaRPr lang="en-US" sz="4400" dirty="0">
              <a:solidFill>
                <a:srgbClr val="FFFFFF"/>
              </a:solidFill>
              <a:latin typeface="Century Gothic"/>
              <a:cs typeface="Century Gothic"/>
            </a:endParaRPr>
          </a:p>
        </p:txBody>
      </p:sp>
      <p:sp>
        <p:nvSpPr>
          <p:cNvPr id="40" name="Tekstvak 13"/>
          <p:cNvSpPr txBox="1"/>
          <p:nvPr/>
        </p:nvSpPr>
        <p:spPr>
          <a:xfrm>
            <a:off x="2779034" y="1371131"/>
            <a:ext cx="8334443" cy="40011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rtlCol="0">
            <a:sp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chemeClr val="bg1"/>
                </a:solidFill>
                <a:latin typeface="Century Gothic"/>
                <a:cs typeface="Century Gothic"/>
              </a:rPr>
              <a:t>Data Sharing</a:t>
            </a:r>
            <a:r>
              <a:rPr lang="en-US" sz="2000" baseline="0" dirty="0">
                <a:solidFill>
                  <a:schemeClr val="bg1"/>
                </a:solidFill>
                <a:latin typeface="Century Gothic"/>
                <a:cs typeface="Century Gothic"/>
              </a:rPr>
              <a:t> for </a:t>
            </a:r>
            <a:r>
              <a:rPr lang="en-US" sz="2000" dirty="0">
                <a:solidFill>
                  <a:schemeClr val="bg1"/>
                </a:solidFill>
                <a:latin typeface="Century Gothic"/>
                <a:cs typeface="Century Gothic"/>
              </a:rPr>
              <a:t>Business Collaboration</a:t>
            </a:r>
            <a:endParaRPr lang="en-US" sz="2000" baseline="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grpSp>
        <p:nvGrpSpPr>
          <p:cNvPr id="27" name="Group 26"/>
          <p:cNvGrpSpPr>
            <a:grpSpLocks noChangeAspect="1"/>
          </p:cNvGrpSpPr>
          <p:nvPr/>
        </p:nvGrpSpPr>
        <p:grpSpPr>
          <a:xfrm>
            <a:off x="1818996" y="812989"/>
            <a:ext cx="896069" cy="898404"/>
            <a:chOff x="147390" y="85979"/>
            <a:chExt cx="409804" cy="410873"/>
          </a:xfrm>
        </p:grpSpPr>
        <p:sp>
          <p:nvSpPr>
            <p:cNvPr id="29" name="Rounded Rectangle 28"/>
            <p:cNvSpPr>
              <a:spLocks noChangeAspect="1"/>
            </p:cNvSpPr>
            <p:nvPr/>
          </p:nvSpPr>
          <p:spPr>
            <a:xfrm>
              <a:off x="147390" y="85979"/>
              <a:ext cx="409804" cy="410873"/>
            </a:xfrm>
            <a:prstGeom prst="roundRect">
              <a:avLst>
                <a:gd name="adj" fmla="val 9607"/>
              </a:avLst>
            </a:prstGeom>
            <a:solidFill>
              <a:srgbClr val="356279"/>
            </a:solidFill>
            <a:ln w="28575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32" name="Group 31"/>
            <p:cNvGrpSpPr/>
            <p:nvPr/>
          </p:nvGrpSpPr>
          <p:grpSpPr>
            <a:xfrm>
              <a:off x="176879" y="134682"/>
              <a:ext cx="357031" cy="350182"/>
              <a:chOff x="4478719" y="4886325"/>
              <a:chExt cx="830311" cy="802190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4627490" y="4886325"/>
                <a:ext cx="579940" cy="579940"/>
                <a:chOff x="4630949" y="4888038"/>
                <a:chExt cx="575964" cy="575964"/>
              </a:xfrm>
            </p:grpSpPr>
            <p:sp>
              <p:nvSpPr>
                <p:cNvPr id="61" name="Oval 5"/>
                <p:cNvSpPr/>
                <p:nvPr/>
              </p:nvSpPr>
              <p:spPr>
                <a:xfrm rot="21097787">
                  <a:off x="4712633" y="4888038"/>
                  <a:ext cx="287982" cy="575964"/>
                </a:xfrm>
                <a:custGeom>
                  <a:avLst/>
                  <a:gdLst>
                    <a:gd name="connsiteX0" fmla="*/ 0 w 575964"/>
                    <a:gd name="connsiteY0" fmla="*/ 287982 h 575964"/>
                    <a:gd name="connsiteX1" fmla="*/ 287982 w 575964"/>
                    <a:gd name="connsiteY1" fmla="*/ 0 h 575964"/>
                    <a:gd name="connsiteX2" fmla="*/ 575964 w 575964"/>
                    <a:gd name="connsiteY2" fmla="*/ 287982 h 575964"/>
                    <a:gd name="connsiteX3" fmla="*/ 287982 w 575964"/>
                    <a:gd name="connsiteY3" fmla="*/ 575964 h 575964"/>
                    <a:gd name="connsiteX4" fmla="*/ 0 w 575964"/>
                    <a:gd name="connsiteY4" fmla="*/ 287982 h 575964"/>
                    <a:gd name="connsiteX0" fmla="*/ 575964 w 667404"/>
                    <a:gd name="connsiteY0" fmla="*/ 287982 h 575964"/>
                    <a:gd name="connsiteX1" fmla="*/ 287982 w 667404"/>
                    <a:gd name="connsiteY1" fmla="*/ 575964 h 575964"/>
                    <a:gd name="connsiteX2" fmla="*/ 0 w 667404"/>
                    <a:gd name="connsiteY2" fmla="*/ 287982 h 575964"/>
                    <a:gd name="connsiteX3" fmla="*/ 287982 w 667404"/>
                    <a:gd name="connsiteY3" fmla="*/ 0 h 575964"/>
                    <a:gd name="connsiteX4" fmla="*/ 667404 w 667404"/>
                    <a:gd name="connsiteY4" fmla="*/ 379422 h 575964"/>
                    <a:gd name="connsiteX0" fmla="*/ 575964 w 575964"/>
                    <a:gd name="connsiteY0" fmla="*/ 287982 h 575964"/>
                    <a:gd name="connsiteX1" fmla="*/ 287982 w 575964"/>
                    <a:gd name="connsiteY1" fmla="*/ 575964 h 575964"/>
                    <a:gd name="connsiteX2" fmla="*/ 0 w 575964"/>
                    <a:gd name="connsiteY2" fmla="*/ 287982 h 575964"/>
                    <a:gd name="connsiteX3" fmla="*/ 287982 w 575964"/>
                    <a:gd name="connsiteY3" fmla="*/ 0 h 575964"/>
                    <a:gd name="connsiteX0" fmla="*/ 287982 w 287982"/>
                    <a:gd name="connsiteY0" fmla="*/ 575964 h 575964"/>
                    <a:gd name="connsiteX1" fmla="*/ 0 w 287982"/>
                    <a:gd name="connsiteY1" fmla="*/ 287982 h 575964"/>
                    <a:gd name="connsiteX2" fmla="*/ 287982 w 287982"/>
                    <a:gd name="connsiteY2" fmla="*/ 0 h 5759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7982" h="575964">
                      <a:moveTo>
                        <a:pt x="287982" y="575964"/>
                      </a:moveTo>
                      <a:cubicBezTo>
                        <a:pt x="128934" y="575964"/>
                        <a:pt x="0" y="447030"/>
                        <a:pt x="0" y="287982"/>
                      </a:cubicBezTo>
                      <a:cubicBezTo>
                        <a:pt x="0" y="128934"/>
                        <a:pt x="128934" y="0"/>
                        <a:pt x="287982" y="0"/>
                      </a:cubicBezTo>
                    </a:path>
                  </a:pathLst>
                </a:custGeom>
                <a:noFill/>
                <a:ln w="28575" cap="rnd" cmpd="sng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62" name="Oval 5"/>
                <p:cNvSpPr/>
                <p:nvPr/>
              </p:nvSpPr>
              <p:spPr>
                <a:xfrm rot="18246703">
                  <a:off x="4774940" y="4985918"/>
                  <a:ext cx="287982" cy="575964"/>
                </a:xfrm>
                <a:custGeom>
                  <a:avLst/>
                  <a:gdLst>
                    <a:gd name="connsiteX0" fmla="*/ 0 w 575964"/>
                    <a:gd name="connsiteY0" fmla="*/ 287982 h 575964"/>
                    <a:gd name="connsiteX1" fmla="*/ 287982 w 575964"/>
                    <a:gd name="connsiteY1" fmla="*/ 0 h 575964"/>
                    <a:gd name="connsiteX2" fmla="*/ 575964 w 575964"/>
                    <a:gd name="connsiteY2" fmla="*/ 287982 h 575964"/>
                    <a:gd name="connsiteX3" fmla="*/ 287982 w 575964"/>
                    <a:gd name="connsiteY3" fmla="*/ 575964 h 575964"/>
                    <a:gd name="connsiteX4" fmla="*/ 0 w 575964"/>
                    <a:gd name="connsiteY4" fmla="*/ 287982 h 575964"/>
                    <a:gd name="connsiteX0" fmla="*/ 575964 w 667404"/>
                    <a:gd name="connsiteY0" fmla="*/ 287982 h 575964"/>
                    <a:gd name="connsiteX1" fmla="*/ 287982 w 667404"/>
                    <a:gd name="connsiteY1" fmla="*/ 575964 h 575964"/>
                    <a:gd name="connsiteX2" fmla="*/ 0 w 667404"/>
                    <a:gd name="connsiteY2" fmla="*/ 287982 h 575964"/>
                    <a:gd name="connsiteX3" fmla="*/ 287982 w 667404"/>
                    <a:gd name="connsiteY3" fmla="*/ 0 h 575964"/>
                    <a:gd name="connsiteX4" fmla="*/ 667404 w 667404"/>
                    <a:gd name="connsiteY4" fmla="*/ 379422 h 575964"/>
                    <a:gd name="connsiteX0" fmla="*/ 575964 w 575964"/>
                    <a:gd name="connsiteY0" fmla="*/ 287982 h 575964"/>
                    <a:gd name="connsiteX1" fmla="*/ 287982 w 575964"/>
                    <a:gd name="connsiteY1" fmla="*/ 575964 h 575964"/>
                    <a:gd name="connsiteX2" fmla="*/ 0 w 575964"/>
                    <a:gd name="connsiteY2" fmla="*/ 287982 h 575964"/>
                    <a:gd name="connsiteX3" fmla="*/ 287982 w 575964"/>
                    <a:gd name="connsiteY3" fmla="*/ 0 h 575964"/>
                    <a:gd name="connsiteX0" fmla="*/ 287982 w 287982"/>
                    <a:gd name="connsiteY0" fmla="*/ 575964 h 575964"/>
                    <a:gd name="connsiteX1" fmla="*/ 0 w 287982"/>
                    <a:gd name="connsiteY1" fmla="*/ 287982 h 575964"/>
                    <a:gd name="connsiteX2" fmla="*/ 287982 w 287982"/>
                    <a:gd name="connsiteY2" fmla="*/ 0 h 5759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7982" h="575964">
                      <a:moveTo>
                        <a:pt x="287982" y="575964"/>
                      </a:moveTo>
                      <a:cubicBezTo>
                        <a:pt x="128934" y="575964"/>
                        <a:pt x="0" y="447030"/>
                        <a:pt x="0" y="287982"/>
                      </a:cubicBezTo>
                      <a:cubicBezTo>
                        <a:pt x="0" y="128934"/>
                        <a:pt x="128934" y="0"/>
                        <a:pt x="287982" y="0"/>
                      </a:cubicBezTo>
                    </a:path>
                  </a:pathLst>
                </a:custGeom>
                <a:noFill/>
                <a:ln w="28575" cap="rnd" cmpd="sng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</p:grpSp>
          <p:grpSp>
            <p:nvGrpSpPr>
              <p:cNvPr id="55" name="Group 54"/>
              <p:cNvGrpSpPr/>
              <p:nvPr/>
            </p:nvGrpSpPr>
            <p:grpSpPr>
              <a:xfrm rot="7197487">
                <a:off x="4729090" y="5108575"/>
                <a:ext cx="579940" cy="579940"/>
                <a:chOff x="4630949" y="4888038"/>
                <a:chExt cx="575964" cy="575964"/>
              </a:xfrm>
            </p:grpSpPr>
            <p:sp>
              <p:nvSpPr>
                <p:cNvPr id="59" name="Oval 5"/>
                <p:cNvSpPr/>
                <p:nvPr/>
              </p:nvSpPr>
              <p:spPr>
                <a:xfrm rot="21097787">
                  <a:off x="4712633" y="4888038"/>
                  <a:ext cx="287982" cy="575964"/>
                </a:xfrm>
                <a:custGeom>
                  <a:avLst/>
                  <a:gdLst>
                    <a:gd name="connsiteX0" fmla="*/ 0 w 575964"/>
                    <a:gd name="connsiteY0" fmla="*/ 287982 h 575964"/>
                    <a:gd name="connsiteX1" fmla="*/ 287982 w 575964"/>
                    <a:gd name="connsiteY1" fmla="*/ 0 h 575964"/>
                    <a:gd name="connsiteX2" fmla="*/ 575964 w 575964"/>
                    <a:gd name="connsiteY2" fmla="*/ 287982 h 575964"/>
                    <a:gd name="connsiteX3" fmla="*/ 287982 w 575964"/>
                    <a:gd name="connsiteY3" fmla="*/ 575964 h 575964"/>
                    <a:gd name="connsiteX4" fmla="*/ 0 w 575964"/>
                    <a:gd name="connsiteY4" fmla="*/ 287982 h 575964"/>
                    <a:gd name="connsiteX0" fmla="*/ 575964 w 667404"/>
                    <a:gd name="connsiteY0" fmla="*/ 287982 h 575964"/>
                    <a:gd name="connsiteX1" fmla="*/ 287982 w 667404"/>
                    <a:gd name="connsiteY1" fmla="*/ 575964 h 575964"/>
                    <a:gd name="connsiteX2" fmla="*/ 0 w 667404"/>
                    <a:gd name="connsiteY2" fmla="*/ 287982 h 575964"/>
                    <a:gd name="connsiteX3" fmla="*/ 287982 w 667404"/>
                    <a:gd name="connsiteY3" fmla="*/ 0 h 575964"/>
                    <a:gd name="connsiteX4" fmla="*/ 667404 w 667404"/>
                    <a:gd name="connsiteY4" fmla="*/ 379422 h 575964"/>
                    <a:gd name="connsiteX0" fmla="*/ 575964 w 575964"/>
                    <a:gd name="connsiteY0" fmla="*/ 287982 h 575964"/>
                    <a:gd name="connsiteX1" fmla="*/ 287982 w 575964"/>
                    <a:gd name="connsiteY1" fmla="*/ 575964 h 575964"/>
                    <a:gd name="connsiteX2" fmla="*/ 0 w 575964"/>
                    <a:gd name="connsiteY2" fmla="*/ 287982 h 575964"/>
                    <a:gd name="connsiteX3" fmla="*/ 287982 w 575964"/>
                    <a:gd name="connsiteY3" fmla="*/ 0 h 575964"/>
                    <a:gd name="connsiteX0" fmla="*/ 287982 w 287982"/>
                    <a:gd name="connsiteY0" fmla="*/ 575964 h 575964"/>
                    <a:gd name="connsiteX1" fmla="*/ 0 w 287982"/>
                    <a:gd name="connsiteY1" fmla="*/ 287982 h 575964"/>
                    <a:gd name="connsiteX2" fmla="*/ 287982 w 287982"/>
                    <a:gd name="connsiteY2" fmla="*/ 0 h 5759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7982" h="575964">
                      <a:moveTo>
                        <a:pt x="287982" y="575964"/>
                      </a:moveTo>
                      <a:cubicBezTo>
                        <a:pt x="128934" y="575964"/>
                        <a:pt x="0" y="447030"/>
                        <a:pt x="0" y="287982"/>
                      </a:cubicBezTo>
                      <a:cubicBezTo>
                        <a:pt x="0" y="128934"/>
                        <a:pt x="128934" y="0"/>
                        <a:pt x="287982" y="0"/>
                      </a:cubicBezTo>
                    </a:path>
                  </a:pathLst>
                </a:custGeom>
                <a:noFill/>
                <a:ln w="28575" cap="rnd" cmpd="sng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60" name="Oval 5"/>
                <p:cNvSpPr/>
                <p:nvPr/>
              </p:nvSpPr>
              <p:spPr>
                <a:xfrm rot="18246703">
                  <a:off x="4774940" y="4985918"/>
                  <a:ext cx="287982" cy="575964"/>
                </a:xfrm>
                <a:custGeom>
                  <a:avLst/>
                  <a:gdLst>
                    <a:gd name="connsiteX0" fmla="*/ 0 w 575964"/>
                    <a:gd name="connsiteY0" fmla="*/ 287982 h 575964"/>
                    <a:gd name="connsiteX1" fmla="*/ 287982 w 575964"/>
                    <a:gd name="connsiteY1" fmla="*/ 0 h 575964"/>
                    <a:gd name="connsiteX2" fmla="*/ 575964 w 575964"/>
                    <a:gd name="connsiteY2" fmla="*/ 287982 h 575964"/>
                    <a:gd name="connsiteX3" fmla="*/ 287982 w 575964"/>
                    <a:gd name="connsiteY3" fmla="*/ 575964 h 575964"/>
                    <a:gd name="connsiteX4" fmla="*/ 0 w 575964"/>
                    <a:gd name="connsiteY4" fmla="*/ 287982 h 575964"/>
                    <a:gd name="connsiteX0" fmla="*/ 575964 w 667404"/>
                    <a:gd name="connsiteY0" fmla="*/ 287982 h 575964"/>
                    <a:gd name="connsiteX1" fmla="*/ 287982 w 667404"/>
                    <a:gd name="connsiteY1" fmla="*/ 575964 h 575964"/>
                    <a:gd name="connsiteX2" fmla="*/ 0 w 667404"/>
                    <a:gd name="connsiteY2" fmla="*/ 287982 h 575964"/>
                    <a:gd name="connsiteX3" fmla="*/ 287982 w 667404"/>
                    <a:gd name="connsiteY3" fmla="*/ 0 h 575964"/>
                    <a:gd name="connsiteX4" fmla="*/ 667404 w 667404"/>
                    <a:gd name="connsiteY4" fmla="*/ 379422 h 575964"/>
                    <a:gd name="connsiteX0" fmla="*/ 575964 w 575964"/>
                    <a:gd name="connsiteY0" fmla="*/ 287982 h 575964"/>
                    <a:gd name="connsiteX1" fmla="*/ 287982 w 575964"/>
                    <a:gd name="connsiteY1" fmla="*/ 575964 h 575964"/>
                    <a:gd name="connsiteX2" fmla="*/ 0 w 575964"/>
                    <a:gd name="connsiteY2" fmla="*/ 287982 h 575964"/>
                    <a:gd name="connsiteX3" fmla="*/ 287982 w 575964"/>
                    <a:gd name="connsiteY3" fmla="*/ 0 h 575964"/>
                    <a:gd name="connsiteX0" fmla="*/ 287982 w 287982"/>
                    <a:gd name="connsiteY0" fmla="*/ 575964 h 575964"/>
                    <a:gd name="connsiteX1" fmla="*/ 0 w 287982"/>
                    <a:gd name="connsiteY1" fmla="*/ 287982 h 575964"/>
                    <a:gd name="connsiteX2" fmla="*/ 287982 w 287982"/>
                    <a:gd name="connsiteY2" fmla="*/ 0 h 5759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7982" h="575964">
                      <a:moveTo>
                        <a:pt x="287982" y="575964"/>
                      </a:moveTo>
                      <a:cubicBezTo>
                        <a:pt x="128934" y="575964"/>
                        <a:pt x="0" y="447030"/>
                        <a:pt x="0" y="287982"/>
                      </a:cubicBezTo>
                      <a:cubicBezTo>
                        <a:pt x="0" y="128934"/>
                        <a:pt x="128934" y="0"/>
                        <a:pt x="287982" y="0"/>
                      </a:cubicBezTo>
                    </a:path>
                  </a:pathLst>
                </a:custGeom>
                <a:noFill/>
                <a:ln w="28575" cap="rnd" cmpd="sng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</p:grpSp>
          <p:grpSp>
            <p:nvGrpSpPr>
              <p:cNvPr id="56" name="Group 55"/>
              <p:cNvGrpSpPr/>
              <p:nvPr/>
            </p:nvGrpSpPr>
            <p:grpSpPr>
              <a:xfrm rot="14485220">
                <a:off x="4478719" y="5089525"/>
                <a:ext cx="579940" cy="579940"/>
                <a:chOff x="4630949" y="4888038"/>
                <a:chExt cx="575964" cy="575964"/>
              </a:xfrm>
            </p:grpSpPr>
            <p:sp>
              <p:nvSpPr>
                <p:cNvPr id="57" name="Oval 5"/>
                <p:cNvSpPr/>
                <p:nvPr/>
              </p:nvSpPr>
              <p:spPr>
                <a:xfrm rot="21097787">
                  <a:off x="4712633" y="4888038"/>
                  <a:ext cx="287982" cy="575964"/>
                </a:xfrm>
                <a:custGeom>
                  <a:avLst/>
                  <a:gdLst>
                    <a:gd name="connsiteX0" fmla="*/ 0 w 575964"/>
                    <a:gd name="connsiteY0" fmla="*/ 287982 h 575964"/>
                    <a:gd name="connsiteX1" fmla="*/ 287982 w 575964"/>
                    <a:gd name="connsiteY1" fmla="*/ 0 h 575964"/>
                    <a:gd name="connsiteX2" fmla="*/ 575964 w 575964"/>
                    <a:gd name="connsiteY2" fmla="*/ 287982 h 575964"/>
                    <a:gd name="connsiteX3" fmla="*/ 287982 w 575964"/>
                    <a:gd name="connsiteY3" fmla="*/ 575964 h 575964"/>
                    <a:gd name="connsiteX4" fmla="*/ 0 w 575964"/>
                    <a:gd name="connsiteY4" fmla="*/ 287982 h 575964"/>
                    <a:gd name="connsiteX0" fmla="*/ 575964 w 667404"/>
                    <a:gd name="connsiteY0" fmla="*/ 287982 h 575964"/>
                    <a:gd name="connsiteX1" fmla="*/ 287982 w 667404"/>
                    <a:gd name="connsiteY1" fmla="*/ 575964 h 575964"/>
                    <a:gd name="connsiteX2" fmla="*/ 0 w 667404"/>
                    <a:gd name="connsiteY2" fmla="*/ 287982 h 575964"/>
                    <a:gd name="connsiteX3" fmla="*/ 287982 w 667404"/>
                    <a:gd name="connsiteY3" fmla="*/ 0 h 575964"/>
                    <a:gd name="connsiteX4" fmla="*/ 667404 w 667404"/>
                    <a:gd name="connsiteY4" fmla="*/ 379422 h 575964"/>
                    <a:gd name="connsiteX0" fmla="*/ 575964 w 575964"/>
                    <a:gd name="connsiteY0" fmla="*/ 287982 h 575964"/>
                    <a:gd name="connsiteX1" fmla="*/ 287982 w 575964"/>
                    <a:gd name="connsiteY1" fmla="*/ 575964 h 575964"/>
                    <a:gd name="connsiteX2" fmla="*/ 0 w 575964"/>
                    <a:gd name="connsiteY2" fmla="*/ 287982 h 575964"/>
                    <a:gd name="connsiteX3" fmla="*/ 287982 w 575964"/>
                    <a:gd name="connsiteY3" fmla="*/ 0 h 575964"/>
                    <a:gd name="connsiteX0" fmla="*/ 287982 w 287982"/>
                    <a:gd name="connsiteY0" fmla="*/ 575964 h 575964"/>
                    <a:gd name="connsiteX1" fmla="*/ 0 w 287982"/>
                    <a:gd name="connsiteY1" fmla="*/ 287982 h 575964"/>
                    <a:gd name="connsiteX2" fmla="*/ 287982 w 287982"/>
                    <a:gd name="connsiteY2" fmla="*/ 0 h 5759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7982" h="575964">
                      <a:moveTo>
                        <a:pt x="287982" y="575964"/>
                      </a:moveTo>
                      <a:cubicBezTo>
                        <a:pt x="128934" y="575964"/>
                        <a:pt x="0" y="447030"/>
                        <a:pt x="0" y="287982"/>
                      </a:cubicBezTo>
                      <a:cubicBezTo>
                        <a:pt x="0" y="128934"/>
                        <a:pt x="128934" y="0"/>
                        <a:pt x="287982" y="0"/>
                      </a:cubicBezTo>
                    </a:path>
                  </a:pathLst>
                </a:custGeom>
                <a:noFill/>
                <a:ln w="28575" cap="rnd" cmpd="sng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58" name="Oval 5"/>
                <p:cNvSpPr/>
                <p:nvPr/>
              </p:nvSpPr>
              <p:spPr>
                <a:xfrm rot="18246703">
                  <a:off x="4774940" y="4985918"/>
                  <a:ext cx="287982" cy="575964"/>
                </a:xfrm>
                <a:custGeom>
                  <a:avLst/>
                  <a:gdLst>
                    <a:gd name="connsiteX0" fmla="*/ 0 w 575964"/>
                    <a:gd name="connsiteY0" fmla="*/ 287982 h 575964"/>
                    <a:gd name="connsiteX1" fmla="*/ 287982 w 575964"/>
                    <a:gd name="connsiteY1" fmla="*/ 0 h 575964"/>
                    <a:gd name="connsiteX2" fmla="*/ 575964 w 575964"/>
                    <a:gd name="connsiteY2" fmla="*/ 287982 h 575964"/>
                    <a:gd name="connsiteX3" fmla="*/ 287982 w 575964"/>
                    <a:gd name="connsiteY3" fmla="*/ 575964 h 575964"/>
                    <a:gd name="connsiteX4" fmla="*/ 0 w 575964"/>
                    <a:gd name="connsiteY4" fmla="*/ 287982 h 575964"/>
                    <a:gd name="connsiteX0" fmla="*/ 575964 w 667404"/>
                    <a:gd name="connsiteY0" fmla="*/ 287982 h 575964"/>
                    <a:gd name="connsiteX1" fmla="*/ 287982 w 667404"/>
                    <a:gd name="connsiteY1" fmla="*/ 575964 h 575964"/>
                    <a:gd name="connsiteX2" fmla="*/ 0 w 667404"/>
                    <a:gd name="connsiteY2" fmla="*/ 287982 h 575964"/>
                    <a:gd name="connsiteX3" fmla="*/ 287982 w 667404"/>
                    <a:gd name="connsiteY3" fmla="*/ 0 h 575964"/>
                    <a:gd name="connsiteX4" fmla="*/ 667404 w 667404"/>
                    <a:gd name="connsiteY4" fmla="*/ 379422 h 575964"/>
                    <a:gd name="connsiteX0" fmla="*/ 575964 w 575964"/>
                    <a:gd name="connsiteY0" fmla="*/ 287982 h 575964"/>
                    <a:gd name="connsiteX1" fmla="*/ 287982 w 575964"/>
                    <a:gd name="connsiteY1" fmla="*/ 575964 h 575964"/>
                    <a:gd name="connsiteX2" fmla="*/ 0 w 575964"/>
                    <a:gd name="connsiteY2" fmla="*/ 287982 h 575964"/>
                    <a:gd name="connsiteX3" fmla="*/ 287982 w 575964"/>
                    <a:gd name="connsiteY3" fmla="*/ 0 h 575964"/>
                    <a:gd name="connsiteX0" fmla="*/ 287982 w 287982"/>
                    <a:gd name="connsiteY0" fmla="*/ 575964 h 575964"/>
                    <a:gd name="connsiteX1" fmla="*/ 0 w 287982"/>
                    <a:gd name="connsiteY1" fmla="*/ 287982 h 575964"/>
                    <a:gd name="connsiteX2" fmla="*/ 287982 w 287982"/>
                    <a:gd name="connsiteY2" fmla="*/ 0 h 5759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287982" h="575964">
                      <a:moveTo>
                        <a:pt x="287982" y="575964"/>
                      </a:moveTo>
                      <a:cubicBezTo>
                        <a:pt x="128934" y="575964"/>
                        <a:pt x="0" y="447030"/>
                        <a:pt x="0" y="287982"/>
                      </a:cubicBezTo>
                      <a:cubicBezTo>
                        <a:pt x="0" y="128934"/>
                        <a:pt x="128934" y="0"/>
                        <a:pt x="287982" y="0"/>
                      </a:cubicBezTo>
                    </a:path>
                  </a:pathLst>
                </a:custGeom>
                <a:noFill/>
                <a:ln w="28575" cap="rnd" cmpd="sng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</p:grpSp>
        </p:grpSp>
      </p:grpSp>
      <p:sp>
        <p:nvSpPr>
          <p:cNvPr id="13" name="Text Placeholder 12"/>
          <p:cNvSpPr>
            <a:spLocks noGrp="1"/>
          </p:cNvSpPr>
          <p:nvPr>
            <p:ph type="body" sz="quarter" idx="13"/>
          </p:nvPr>
        </p:nvSpPr>
        <p:spPr>
          <a:xfrm>
            <a:off x="2736389" y="4194175"/>
            <a:ext cx="7463414" cy="830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335444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on Blue">
    <p:bg>
      <p:bgPr>
        <a:solidFill>
          <a:srgbClr val="368EE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x-non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FFFFFF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569358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Round Same Side Corner Rectangle 35"/>
          <p:cNvSpPr/>
          <p:nvPr userDrawn="1"/>
        </p:nvSpPr>
        <p:spPr>
          <a:xfrm rot="16200000">
            <a:off x="3222844" y="-2294978"/>
            <a:ext cx="5746312" cy="12191998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1988E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GB" b="0" dirty="0">
              <a:latin typeface="Century Gothic" panose="020B0502020202020204" pitchFamily="34" charset="0"/>
            </a:endParaRPr>
          </a:p>
        </p:txBody>
      </p:sp>
      <p:sp>
        <p:nvSpPr>
          <p:cNvPr id="38" name="Tekstvak 13"/>
          <p:cNvSpPr txBox="1"/>
          <p:nvPr userDrawn="1"/>
        </p:nvSpPr>
        <p:spPr>
          <a:xfrm>
            <a:off x="832175" y="-18853"/>
            <a:ext cx="2325756" cy="769441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r>
              <a:rPr lang="en-US" sz="4400" b="1" i="0" spc="-150" dirty="0">
                <a:solidFill>
                  <a:srgbClr val="FFFFFF"/>
                </a:solidFill>
                <a:latin typeface="Open Sans Semibold" charset="0"/>
                <a:ea typeface="Open Sans Semibold" charset="0"/>
                <a:cs typeface="Open Sans Semibold" charset="0"/>
              </a:rPr>
              <a:t>nallian</a:t>
            </a:r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888736" y="4496586"/>
            <a:ext cx="10979610" cy="121605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bg1"/>
                </a:solidFill>
              </a:defRPr>
            </a:lvl2pPr>
            <a:lvl3pPr marL="914400" indent="0">
              <a:buNone/>
              <a:defRPr>
                <a:solidFill>
                  <a:schemeClr val="bg1"/>
                </a:solidFill>
              </a:defRPr>
            </a:lvl3pPr>
            <a:lvl4pPr marL="1371600" indent="0">
              <a:buNone/>
              <a:defRPr>
                <a:solidFill>
                  <a:schemeClr val="bg1"/>
                </a:solidFill>
              </a:defRPr>
            </a:lvl4pPr>
            <a:lvl5pPr marL="18288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888736" y="2355949"/>
            <a:ext cx="10979610" cy="1325563"/>
          </a:xfrm>
          <a:prstGeom prst="rect">
            <a:avLst/>
          </a:prstGeom>
        </p:spPr>
        <p:txBody>
          <a:bodyPr/>
          <a:lstStyle>
            <a:lvl1pPr algn="l">
              <a:defRPr lang="en-US" sz="4000" b="1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>
              <a:spcBef>
                <a:spcPct val="20000"/>
              </a:spcBef>
              <a:buFont typeface="Arial"/>
            </a:pPr>
            <a:r>
              <a:rPr lang="en-US"/>
              <a:t>Click to edit Master title style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860455" y="567922"/>
            <a:ext cx="4232635" cy="205557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l-NL"/>
            </a:defPPr>
            <a:lvl1pPr>
              <a:defRPr b="0">
                <a:solidFill>
                  <a:schemeClr val="lt1"/>
                </a:solidFill>
                <a:latin typeface="Century Gothic" panose="020B050202020202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lvl="0"/>
            <a:r>
              <a:rPr lang="en-US" sz="1100" dirty="0"/>
              <a:t>Data Sharing for Business Collaboration</a:t>
            </a:r>
          </a:p>
        </p:txBody>
      </p:sp>
    </p:spTree>
    <p:extLst>
      <p:ext uri="{BB962C8B-B14F-4D97-AF65-F5344CB8AC3E}">
        <p14:creationId xmlns:p14="http://schemas.microsoft.com/office/powerpoint/2010/main" val="7203395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0" y="1"/>
            <a:ext cx="12192000" cy="5554943"/>
          </a:xfrm>
          <a:prstGeom prst="rect">
            <a:avLst/>
          </a:prstGeom>
          <a:gradFill>
            <a:gsLst>
              <a:gs pos="0">
                <a:srgbClr val="1988E0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8">
              <a:solidFill>
                <a:schemeClr val="bg1"/>
              </a:solidFill>
            </a:endParaRPr>
          </a:p>
        </p:txBody>
      </p:sp>
      <p:cxnSp>
        <p:nvCxnSpPr>
          <p:cNvPr id="16" name="Straight Connector 15"/>
          <p:cNvCxnSpPr/>
          <p:nvPr userDrawn="1"/>
        </p:nvCxnSpPr>
        <p:spPr>
          <a:xfrm>
            <a:off x="0" y="5554944"/>
            <a:ext cx="12192000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/>
          <p:nvPr userDrawn="1"/>
        </p:nvSpPr>
        <p:spPr>
          <a:xfrm>
            <a:off x="317386" y="6529532"/>
            <a:ext cx="1264671" cy="411111"/>
          </a:xfrm>
          <a:prstGeom prst="rect">
            <a:avLst/>
          </a:prstGeom>
        </p:spPr>
        <p:txBody>
          <a:bodyPr wrap="none">
            <a:noAutofit/>
          </a:bodyPr>
          <a:lstStyle/>
          <a:p>
            <a:pPr lvl="0"/>
            <a:r>
              <a:rPr lang="en-US" sz="2400" b="1" i="0" spc="-150" dirty="0">
                <a:solidFill>
                  <a:schemeClr val="bg1">
                    <a:lumMod val="85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nallian</a:t>
            </a:r>
          </a:p>
        </p:txBody>
      </p:sp>
      <p:sp>
        <p:nvSpPr>
          <p:cNvPr id="19" name="Oval 18"/>
          <p:cNvSpPr/>
          <p:nvPr userDrawn="1"/>
        </p:nvSpPr>
        <p:spPr>
          <a:xfrm>
            <a:off x="-44132" y="6504593"/>
            <a:ext cx="435485" cy="435485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/>
          <p:nvPr userDrawn="1"/>
        </p:nvGrpSpPr>
        <p:grpSpPr>
          <a:xfrm>
            <a:off x="-4000" y="6558888"/>
            <a:ext cx="323394" cy="332852"/>
            <a:chOff x="1108747" y="836614"/>
            <a:chExt cx="5715613" cy="5896288"/>
          </a:xfrm>
          <a:solidFill>
            <a:srgbClr val="F2F2F2"/>
          </a:solidFill>
          <a:effectLst/>
        </p:grpSpPr>
        <p:sp>
          <p:nvSpPr>
            <p:cNvPr id="31" name="Block Arc 30"/>
            <p:cNvSpPr/>
            <p:nvPr/>
          </p:nvSpPr>
          <p:spPr>
            <a:xfrm>
              <a:off x="2797018" y="836614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2" name="Block Arc 31"/>
            <p:cNvSpPr/>
            <p:nvPr/>
          </p:nvSpPr>
          <p:spPr>
            <a:xfrm rot="7200000">
              <a:off x="2936571" y="2845112"/>
              <a:ext cx="3887786" cy="3887793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33" name="Block Arc 32"/>
            <p:cNvSpPr/>
            <p:nvPr/>
          </p:nvSpPr>
          <p:spPr>
            <a:xfrm rot="14400000">
              <a:off x="1108747" y="1888217"/>
              <a:ext cx="3887786" cy="3887786"/>
            </a:xfrm>
            <a:prstGeom prst="blockArc">
              <a:avLst>
                <a:gd name="adj1" fmla="val 1784871"/>
                <a:gd name="adj2" fmla="val 16234242"/>
                <a:gd name="adj3" fmla="val 8347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9050566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Whitespa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/>
          <p:cNvSpPr>
            <a:spLocks noGrp="1"/>
          </p:cNvSpPr>
          <p:nvPr>
            <p:ph type="title"/>
          </p:nvPr>
        </p:nvSpPr>
        <p:spPr>
          <a:xfrm>
            <a:off x="1490133" y="274638"/>
            <a:ext cx="10092267" cy="563562"/>
          </a:xfrm>
          <a:prstGeom prst="rect">
            <a:avLst/>
          </a:prstGeom>
        </p:spPr>
        <p:txBody>
          <a:bodyPr/>
          <a:lstStyle>
            <a:lvl1pPr algn="l">
              <a:defRPr lang="nl-BE" sz="2400" b="0" kern="1200" smtClean="0">
                <a:solidFill>
                  <a:srgbClr val="356279"/>
                </a:solidFill>
                <a:effectLst/>
                <a:latin typeface="Century Gothic" panose="020B0502020202020204" pitchFamily="34" charset="0"/>
                <a:ea typeface="+mn-ea"/>
                <a:cs typeface="Century Gothic"/>
              </a:defRPr>
            </a:lvl1pPr>
          </a:lstStyle>
          <a:p>
            <a:r>
              <a:rPr lang="en-US"/>
              <a:t>Click to edit Master title 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130116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 whi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06AD836-B6AF-7E42-B7E6-5698040CB28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CRM | </a:t>
            </a:r>
            <a:fld id="{0ED29B20-3CEA-854A-BD57-D4FC107366EF}" type="slidenum">
              <a:rPr smtClean="0"/>
              <a:pPr/>
              <a:t>‹nr.›</a:t>
            </a:fld>
            <a:endParaRPr dirty="0"/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97E1DEC2-F7ED-0447-972B-F8DEB9A486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3328" y="6367465"/>
            <a:ext cx="1133310" cy="365125"/>
          </a:xfrm>
          <a:prstGeom prst="rect">
            <a:avLst/>
          </a:prstGeom>
        </p:spPr>
      </p:pic>
      <p:pic>
        <p:nvPicPr>
          <p:cNvPr id="7" name="Picture 2" descr="WTO | COVID-19 and world trade">
            <a:extLst>
              <a:ext uri="{FF2B5EF4-FFF2-40B4-BE49-F238E27FC236}">
                <a16:creationId xmlns:a16="http://schemas.microsoft.com/office/drawing/2014/main" id="{FFA28F67-D933-B64B-996B-BBC84CC4847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alphaModFix amt="1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3995"/>
                    </a14:imgEffect>
                    <a14:imgEffect>
                      <a14:saturation sat="0"/>
                    </a14:imgEffect>
                    <a14:imgEffect>
                      <a14:brightnessContrast bright="36000" contrast="-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2246427" cy="685800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1D3BF6F3-BFFF-CC49-A8A0-A5E8366E7FB8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8593957" y="3270785"/>
            <a:ext cx="6858002" cy="31642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spc="-300" dirty="0">
                <a:solidFill>
                  <a:schemeClr val="accent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spc="0" dirty="0">
                <a:solidFill>
                  <a:schemeClr val="bg1"/>
                </a:solidFill>
                <a:latin typeface="Open Sans" charset="0"/>
                <a:ea typeface="Open Sans" charset="0"/>
                <a:cs typeface="Open Sans" charset="0"/>
              </a:rPr>
              <a:t>CONFIDENTIAL AND PROPRIETARY: Any use of this material without specific permission of Nallian is strictly prohibited </a:t>
            </a:r>
          </a:p>
          <a:p>
            <a:pPr algn="ctr"/>
            <a:endParaRPr lang="en-GB" sz="800" b="0" spc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06089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6F16F6-8E58-914E-B758-A153B99A6F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DCRM | </a:t>
            </a:r>
            <a:fld id="{0ED29B20-3CEA-854A-BD57-D4FC107366EF}" type="slidenum">
              <a:rPr smtClean="0"/>
              <a:pPr/>
              <a:t>‹nr.›</a:t>
            </a:fld>
            <a:endParaRPr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0520" y="1185808"/>
            <a:ext cx="11824073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94384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5E324F-7BA7-CF4A-8A50-BA2EC95D5A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DCRM | </a:t>
            </a:r>
            <a:fld id="{0ED29B20-3CEA-854A-BD57-D4FC107366EF}" type="slidenum">
              <a:rPr smtClean="0"/>
              <a:pPr/>
              <a:t>‹nr.›</a:t>
            </a:fld>
            <a:endParaRPr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/>
            </a:lvl1pPr>
          </a:lstStyle>
          <a:p>
            <a:r>
              <a:rPr lang="en-US" dirty="0"/>
              <a:t>Click to edit Master title style	</a:t>
            </a:r>
          </a:p>
        </p:txBody>
      </p:sp>
    </p:spTree>
    <p:extLst>
      <p:ext uri="{BB962C8B-B14F-4D97-AF65-F5344CB8AC3E}">
        <p14:creationId xmlns:p14="http://schemas.microsoft.com/office/powerpoint/2010/main" val="6590211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44A0342-224E-DC40-854E-157D675C681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/>
          <a:stretch/>
        </p:blipFill>
        <p:spPr>
          <a:xfrm>
            <a:off x="0" y="0"/>
            <a:ext cx="12192000" cy="6874468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85E324F-7BA7-CF4A-8A50-BA2EC95D5A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dirty="0"/>
              <a:t>DCRM | </a:t>
            </a:r>
            <a:fld id="{0ED29B20-3CEA-854A-BD57-D4FC107366EF}" type="slidenum">
              <a:rPr smtClean="0"/>
              <a:pPr/>
              <a:t>‹nr.›</a:t>
            </a:fld>
            <a:endParaRPr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98A1EFEA-C2D8-114C-A882-7ABFB1E47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D5190AC2-D0AB-104E-A34D-ECF51359BBD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33328" y="6367464"/>
            <a:ext cx="1135311" cy="365125"/>
          </a:xfrm>
          <a:prstGeom prst="rect">
            <a:avLst/>
          </a:prstGeom>
        </p:spPr>
      </p:pic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6B8B189F-DEC0-8B4E-9967-00414252EBB6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8593957" y="3270785"/>
            <a:ext cx="6858002" cy="31642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spc="-300" dirty="0">
                <a:solidFill>
                  <a:schemeClr val="accent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spc="0" dirty="0">
                <a:solidFill>
                  <a:schemeClr val="accent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CONFIDENTIAL AND PROPRIETARY: Any use of this material without specific permission of Nallian is strictly prohibited </a:t>
            </a:r>
          </a:p>
          <a:p>
            <a:pPr algn="ctr"/>
            <a:endParaRPr lang="en-GB" sz="800" b="0" spc="0" dirty="0"/>
          </a:p>
        </p:txBody>
      </p:sp>
    </p:spTree>
    <p:extLst>
      <p:ext uri="{BB962C8B-B14F-4D97-AF65-F5344CB8AC3E}">
        <p14:creationId xmlns:p14="http://schemas.microsoft.com/office/powerpoint/2010/main" val="9728998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588D52-B952-4BEC-B79A-E2506B3E1BA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  <a:endParaRPr lang="nl-BE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F5F04CFC-D591-48A1-BCCC-8463AA1E75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nl-BE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EB56E21-FCD8-4CE5-975B-E601D5C197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D59AAE-A5D5-4B8C-944E-36D4D17F71F3}" type="datetimeFigureOut">
              <a:rPr lang="nl-BE" smtClean="0"/>
              <a:t>18/05/2023</a:t>
            </a:fld>
            <a:endParaRPr lang="nl-BE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3DF5B7D-032F-49EF-B858-362B9522D1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B7AE25A-A25E-40E3-BF6A-D89ADB36C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E02998B-94B2-4D3C-A885-E4BBFE47B8DE}" type="slidenum">
              <a:rPr lang="nl-BE" smtClean="0"/>
              <a:t>‹nr.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41044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4" y="2124076"/>
            <a:ext cx="3537526" cy="4257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A49AA2-D478-48B9-8E3A-C869556902A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16959" y="2125837"/>
            <a:ext cx="3537526" cy="42657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4663DE2-CAE1-4CAF-8065-E4A1C965887B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14351" y="1253408"/>
            <a:ext cx="3546394" cy="7373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ctr">
              <a:buNone/>
              <a:tabLst>
                <a:tab pos="0" algn="l"/>
              </a:tabLst>
              <a:defRPr sz="2800" b="1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81C4BA-E562-45B0-B4B3-98BB36C3112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416959" y="1255170"/>
            <a:ext cx="3537526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28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tex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F28918F-61B9-4FDC-8D81-0457C0B00CE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16009" y="2125837"/>
            <a:ext cx="3537526" cy="42657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ACCF3E8-8ED6-41EC-9191-C121253B769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16009" y="1252024"/>
            <a:ext cx="3537526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28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820804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1041305" y="6392432"/>
            <a:ext cx="1002913" cy="465567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B39F2A-CA5A-42E1-AC3C-0B2D14751A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18000"/>
          </a:blip>
          <a:srcRect r="20101"/>
          <a:stretch/>
        </p:blipFill>
        <p:spPr>
          <a:xfrm>
            <a:off x="4619" y="-5435"/>
            <a:ext cx="12192000" cy="6863434"/>
          </a:xfrm>
          <a:prstGeom prst="rect">
            <a:avLst/>
          </a:prstGeom>
        </p:spPr>
      </p:pic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A32F9A88-04DD-4AEF-A7FE-D3C1547530F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855511" y="5822383"/>
            <a:ext cx="2015065" cy="710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33332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5C6FA3DE-961B-426F-BAB4-E4494BB51B68}"/>
              </a:ext>
            </a:extLst>
          </p:cNvPr>
          <p:cNvSpPr/>
          <p:nvPr userDrawn="1"/>
        </p:nvSpPr>
        <p:spPr>
          <a:xfrm>
            <a:off x="10506075" y="6400800"/>
            <a:ext cx="1566182" cy="457199"/>
          </a:xfrm>
          <a:prstGeom prst="rect">
            <a:avLst/>
          </a:prstGeom>
          <a:solidFill>
            <a:srgbClr val="368E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3154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section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Subtitle 2"/>
          <p:cNvSpPr>
            <a:spLocks noGrp="1"/>
          </p:cNvSpPr>
          <p:nvPr>
            <p:ph type="subTitle" idx="1"/>
          </p:nvPr>
        </p:nvSpPr>
        <p:spPr>
          <a:xfrm>
            <a:off x="349135" y="3778685"/>
            <a:ext cx="11521440" cy="1125825"/>
          </a:xfrm>
        </p:spPr>
        <p:txBody>
          <a:bodyPr>
            <a:normAutofit/>
          </a:bodyPr>
          <a:lstStyle>
            <a:lvl1pPr marL="0" indent="0" algn="ctr">
              <a:buNone/>
              <a:defRPr sz="2000" b="1" spc="-100" baseline="0">
                <a:solidFill>
                  <a:schemeClr val="accent1">
                    <a:lumMod val="40000"/>
                    <a:lumOff val="6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349135" y="2173223"/>
            <a:ext cx="11521441" cy="1604161"/>
          </a:xfrm>
        </p:spPr>
        <p:txBody>
          <a:bodyPr anchor="ctr"/>
          <a:lstStyle>
            <a:lvl1pPr algn="ctr">
              <a:defRPr sz="4400">
                <a:solidFill>
                  <a:schemeClr val="accent1">
                    <a:lumMod val="5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0E0EBF-AC19-4496-9893-75049A611331}"/>
              </a:ext>
            </a:extLst>
          </p:cNvPr>
          <p:cNvSpPr/>
          <p:nvPr userDrawn="1"/>
        </p:nvSpPr>
        <p:spPr>
          <a:xfrm>
            <a:off x="10929257" y="6411686"/>
            <a:ext cx="1153886" cy="37011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21151585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11322630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1046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 out right,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F24E52-FAFD-4817-8755-ACFC85ED566F}"/>
              </a:ext>
            </a:extLst>
          </p:cNvPr>
          <p:cNvSpPr/>
          <p:nvPr userDrawn="1"/>
        </p:nvSpPr>
        <p:spPr>
          <a:xfrm>
            <a:off x="7897091" y="0"/>
            <a:ext cx="429490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7012421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7012421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95F177-DB51-4E48-AB31-916641C04E4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21964" y="1699491"/>
            <a:ext cx="3511839" cy="4553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tabLst>
                <a:tab pos="0" algn="l"/>
              </a:tabLst>
              <a:defRPr sz="2400" b="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3F3F1C5-1BFB-40C1-88CD-3E74484893FC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21964" y="378690"/>
            <a:ext cx="3511839" cy="1108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tabLst>
                <a:tab pos="0" algn="l"/>
              </a:tabLst>
              <a:defRPr sz="280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39999317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right, pict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" y="0"/>
            <a:ext cx="8372474" cy="6858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None/>
              <a:defRPr/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3007D1B-12FC-4602-8C11-DEB7C8CA96AC}"/>
              </a:ext>
            </a:extLst>
          </p:cNvPr>
          <p:cNvSpPr/>
          <p:nvPr userDrawn="1"/>
        </p:nvSpPr>
        <p:spPr>
          <a:xfrm>
            <a:off x="7897091" y="0"/>
            <a:ext cx="429490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1E4721E-B437-4B1D-87BA-01AB5C8C87B9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321964" y="1699491"/>
            <a:ext cx="3511839" cy="45536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tabLst>
                <a:tab pos="0" algn="l"/>
              </a:tabLst>
              <a:defRPr sz="2400" b="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DD67E20-D364-415C-9E68-599480FF08C2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8321964" y="378690"/>
            <a:ext cx="3511839" cy="11083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Clr>
                <a:schemeClr val="bg1"/>
              </a:buClr>
              <a:buFont typeface="Arial" panose="020B0604020202020204" pitchFamily="34" charset="0"/>
              <a:buNone/>
              <a:tabLst>
                <a:tab pos="0" algn="l"/>
              </a:tabLst>
              <a:defRPr sz="2800" spc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heading</a:t>
            </a:r>
          </a:p>
        </p:txBody>
      </p:sp>
    </p:spTree>
    <p:extLst>
      <p:ext uri="{BB962C8B-B14F-4D97-AF65-F5344CB8AC3E}">
        <p14:creationId xmlns:p14="http://schemas.microsoft.com/office/powerpoint/2010/main" val="1173677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right,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7012421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7012421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E031159-0A02-4A3D-9253-450EC341EB1B}"/>
              </a:ext>
            </a:extLst>
          </p:cNvPr>
          <p:cNvSpPr/>
          <p:nvPr userDrawn="1"/>
        </p:nvSpPr>
        <p:spPr>
          <a:xfrm>
            <a:off x="10880436" y="6336145"/>
            <a:ext cx="1209964" cy="4433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95F177-DB51-4E48-AB31-916641C04E4C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7897092" y="0"/>
            <a:ext cx="4294908" cy="68579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>
              <a:buClr>
                <a:schemeClr val="bg1"/>
              </a:buClr>
              <a:buNone/>
              <a:tabLst>
                <a:tab pos="0" algn="l"/>
              </a:tabLst>
              <a:defRPr sz="2400" b="0" spc="0">
                <a:solidFill>
                  <a:schemeClr val="bg1"/>
                </a:solidFill>
              </a:defRPr>
            </a:lvl1pPr>
            <a:lvl2pPr marL="447675" indent="-180975">
              <a:spcBef>
                <a:spcPts val="1200"/>
              </a:spcBef>
              <a:buClr>
                <a:schemeClr val="bg1"/>
              </a:buClr>
              <a:defRPr sz="2000">
                <a:solidFill>
                  <a:schemeClr val="bg1"/>
                </a:solidFill>
              </a:defRPr>
            </a:lvl2pPr>
            <a:lvl3pPr marL="628650" indent="-180975">
              <a:spcBef>
                <a:spcPts val="1200"/>
              </a:spcBef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21614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2124076"/>
            <a:ext cx="5307060" cy="43412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0989403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A49AA2-D478-48B9-8E3A-C869556902A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208816" y="2125837"/>
            <a:ext cx="5307060" cy="434942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4663DE2-CAE1-4CAF-8065-E4A1C965887B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14350" y="1253408"/>
            <a:ext cx="5320364" cy="7373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228600" indent="-228600" algn="ctr">
              <a:buNone/>
              <a:tabLst>
                <a:tab pos="0" algn="l"/>
              </a:tabLst>
              <a:defRPr b="1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81C4BA-E562-45B0-B4B3-98BB36C31129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6208816" y="1255170"/>
            <a:ext cx="5307060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>
              <a:buNone/>
              <a:defRPr lang="en-US" sz="24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5361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92F0217B-ABC7-3F4E-A853-5929C371BE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4" y="2124076"/>
            <a:ext cx="3537526" cy="42577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2400" b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sz="20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0385206-D838-5746-8CB9-1977FD1B09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</p:spPr>
        <p:txBody>
          <a:bodyPr/>
          <a:lstStyle>
            <a:lvl1pPr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5A49AA2-D478-48B9-8E3A-C869556902A2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416959" y="2125837"/>
            <a:ext cx="3537526" cy="42657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24663DE2-CAE1-4CAF-8065-E4A1C965887B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14351" y="1253408"/>
            <a:ext cx="3546394" cy="73731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228600" indent="-228600" algn="ctr">
              <a:buNone/>
              <a:tabLst>
                <a:tab pos="0" algn="l"/>
              </a:tabLst>
              <a:defRPr sz="2800" b="1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lvl="0"/>
            <a:r>
              <a:rPr lang="en-US" dirty="0"/>
              <a:t>Click to edit text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6281C4BA-E562-45B0-B4B3-98BB36C3112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4416959" y="1255170"/>
            <a:ext cx="3537526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buNone/>
              <a:defRPr lang="en-US" sz="28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text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F28918F-61B9-4FDC-8D81-0457C0B00CE3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16009" y="2125837"/>
            <a:ext cx="3537526" cy="42657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4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 lang="en-US" sz="2000" b="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>
              <a:spcBef>
                <a:spcPts val="800"/>
              </a:spcBef>
              <a:defRPr lang="en-US" sz="1800" kern="1200" dirty="0" smtClean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>
              <a:spcBef>
                <a:spcPts val="800"/>
              </a:spcBef>
              <a:defRPr lang="en-US" sz="1600" kern="1200" dirty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ACCF3E8-8ED6-41EC-9191-C121253B7697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8316009" y="1252024"/>
            <a:ext cx="3537526" cy="73870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>
              <a:buNone/>
              <a:defRPr lang="en-US" sz="2800" b="1" kern="1200" dirty="0">
                <a:solidFill>
                  <a:srgbClr val="368EE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>
              <a:spcBef>
                <a:spcPts val="800"/>
              </a:spcBef>
              <a:defRPr/>
            </a:lvl2pPr>
          </a:lstStyle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" charset="2"/>
              <a:buNone/>
              <a:tabLst>
                <a:tab pos="0" algn="l"/>
              </a:tabLst>
              <a:defRPr/>
            </a:pPr>
            <a:r>
              <a:rPr lang="en-US" dirty="0"/>
              <a:t>Click to edit text</a:t>
            </a:r>
          </a:p>
        </p:txBody>
      </p:sp>
    </p:spTree>
    <p:extLst>
      <p:ext uri="{BB962C8B-B14F-4D97-AF65-F5344CB8AC3E}">
        <p14:creationId xmlns:p14="http://schemas.microsoft.com/office/powerpoint/2010/main" val="1065566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220E29CA-A956-FF42-9B7E-5724547CF0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marL="0" indent="0">
              <a:tabLst>
                <a:tab pos="11726863" algn="r"/>
              </a:tabLst>
              <a:defRPr sz="320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	</a:t>
            </a:r>
          </a:p>
        </p:txBody>
      </p:sp>
    </p:spTree>
    <p:extLst>
      <p:ext uri="{BB962C8B-B14F-4D97-AF65-F5344CB8AC3E}">
        <p14:creationId xmlns:p14="http://schemas.microsoft.com/office/powerpoint/2010/main" val="3106600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slideLayout" Target="../slideLayouts/slideLayout10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slideLayout" Target="../slideLayouts/slideLayout101.xml"/><Relationship Id="rId17" Type="http://schemas.openxmlformats.org/officeDocument/2006/relationships/image" Target="../media/image1.jpg"/><Relationship Id="rId2" Type="http://schemas.openxmlformats.org/officeDocument/2006/relationships/slideLayout" Target="../slideLayouts/slideLayout91.xml"/><Relationship Id="rId16" Type="http://schemas.openxmlformats.org/officeDocument/2006/relationships/theme" Target="../theme/theme10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slideLayout" Target="../slideLayouts/slideLayout103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06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5" Type="http://schemas.openxmlformats.org/officeDocument/2006/relationships/theme" Target="../theme/theme11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11.xml"/><Relationship Id="rId18" Type="http://schemas.openxmlformats.org/officeDocument/2006/relationships/tags" Target="../tags/tag16.xml"/><Relationship Id="rId26" Type="http://schemas.openxmlformats.org/officeDocument/2006/relationships/tags" Target="../tags/tag24.xml"/><Relationship Id="rId3" Type="http://schemas.openxmlformats.org/officeDocument/2006/relationships/slideLayout" Target="../slideLayouts/slideLayout19.xml"/><Relationship Id="rId21" Type="http://schemas.openxmlformats.org/officeDocument/2006/relationships/tags" Target="../tags/tag19.xml"/><Relationship Id="rId7" Type="http://schemas.openxmlformats.org/officeDocument/2006/relationships/slideLayout" Target="../slideLayouts/slideLayout23.xml"/><Relationship Id="rId12" Type="http://schemas.openxmlformats.org/officeDocument/2006/relationships/tags" Target="../tags/tag10.xml"/><Relationship Id="rId17" Type="http://schemas.openxmlformats.org/officeDocument/2006/relationships/tags" Target="../tags/tag15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14.xml"/><Relationship Id="rId20" Type="http://schemas.openxmlformats.org/officeDocument/2006/relationships/tags" Target="../tags/tag18.xml"/><Relationship Id="rId29" Type="http://schemas.openxmlformats.org/officeDocument/2006/relationships/image" Target="../media/image9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tags" Target="../tags/tag9.xml"/><Relationship Id="rId24" Type="http://schemas.openxmlformats.org/officeDocument/2006/relationships/tags" Target="../tags/tag22.xml"/><Relationship Id="rId5" Type="http://schemas.openxmlformats.org/officeDocument/2006/relationships/slideLayout" Target="../slideLayouts/slideLayout21.xml"/><Relationship Id="rId15" Type="http://schemas.openxmlformats.org/officeDocument/2006/relationships/tags" Target="../tags/tag13.xml"/><Relationship Id="rId23" Type="http://schemas.openxmlformats.org/officeDocument/2006/relationships/tags" Target="../tags/tag21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8.xml"/><Relationship Id="rId19" Type="http://schemas.openxmlformats.org/officeDocument/2006/relationships/tags" Target="../tags/tag17.xml"/><Relationship Id="rId4" Type="http://schemas.openxmlformats.org/officeDocument/2006/relationships/slideLayout" Target="../slideLayouts/slideLayout20.xml"/><Relationship Id="rId9" Type="http://schemas.openxmlformats.org/officeDocument/2006/relationships/tags" Target="../tags/tag7.xml"/><Relationship Id="rId14" Type="http://schemas.openxmlformats.org/officeDocument/2006/relationships/tags" Target="../tags/tag12.xml"/><Relationship Id="rId22" Type="http://schemas.openxmlformats.org/officeDocument/2006/relationships/tags" Target="../tags/tag20.xml"/><Relationship Id="rId27" Type="http://schemas.openxmlformats.org/officeDocument/2006/relationships/tags" Target="../tags/tag2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26" Type="http://schemas.openxmlformats.org/officeDocument/2006/relationships/tags" Target="../tags/tag61.xml"/><Relationship Id="rId3" Type="http://schemas.openxmlformats.org/officeDocument/2006/relationships/slideLayout" Target="../slideLayouts/slideLayout26.xml"/><Relationship Id="rId21" Type="http://schemas.openxmlformats.org/officeDocument/2006/relationships/tags" Target="../tags/tag56.xml"/><Relationship Id="rId7" Type="http://schemas.openxmlformats.org/officeDocument/2006/relationships/slideLayout" Target="../slideLayouts/slideLayout30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5" Type="http://schemas.openxmlformats.org/officeDocument/2006/relationships/tags" Target="../tags/tag60.xml"/><Relationship Id="rId2" Type="http://schemas.openxmlformats.org/officeDocument/2006/relationships/slideLayout" Target="../slideLayouts/slideLayout25.xml"/><Relationship Id="rId16" Type="http://schemas.openxmlformats.org/officeDocument/2006/relationships/tags" Target="../tags/tag51.xml"/><Relationship Id="rId20" Type="http://schemas.openxmlformats.org/officeDocument/2006/relationships/tags" Target="../tags/tag55.xml"/><Relationship Id="rId29" Type="http://schemas.openxmlformats.org/officeDocument/2006/relationships/image" Target="../media/image9.emf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tags" Target="../tags/tag46.xml"/><Relationship Id="rId24" Type="http://schemas.openxmlformats.org/officeDocument/2006/relationships/tags" Target="../tags/tag59.xml"/><Relationship Id="rId5" Type="http://schemas.openxmlformats.org/officeDocument/2006/relationships/slideLayout" Target="../slideLayouts/slideLayout28.xml"/><Relationship Id="rId15" Type="http://schemas.openxmlformats.org/officeDocument/2006/relationships/tags" Target="../tags/tag50.xml"/><Relationship Id="rId23" Type="http://schemas.openxmlformats.org/officeDocument/2006/relationships/tags" Target="../tags/tag58.xml"/><Relationship Id="rId28" Type="http://schemas.openxmlformats.org/officeDocument/2006/relationships/oleObject" Target="../embeddings/oleObject4.bin"/><Relationship Id="rId10" Type="http://schemas.openxmlformats.org/officeDocument/2006/relationships/tags" Target="../tags/tag45.xml"/><Relationship Id="rId19" Type="http://schemas.openxmlformats.org/officeDocument/2006/relationships/tags" Target="../tags/tag54.xml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44.xml"/><Relationship Id="rId14" Type="http://schemas.openxmlformats.org/officeDocument/2006/relationships/tags" Target="../tags/tag49.xml"/><Relationship Id="rId22" Type="http://schemas.openxmlformats.org/officeDocument/2006/relationships/tags" Target="../tags/tag57.xml"/><Relationship Id="rId27" Type="http://schemas.openxmlformats.org/officeDocument/2006/relationships/tags" Target="../tags/tag6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26" Type="http://schemas.openxmlformats.org/officeDocument/2006/relationships/tags" Target="../tags/tag95.xml"/><Relationship Id="rId3" Type="http://schemas.openxmlformats.org/officeDocument/2006/relationships/slideLayout" Target="../slideLayouts/slideLayout33.xml"/><Relationship Id="rId21" Type="http://schemas.openxmlformats.org/officeDocument/2006/relationships/tags" Target="../tags/tag90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5" Type="http://schemas.openxmlformats.org/officeDocument/2006/relationships/tags" Target="../tags/tag94.xml"/><Relationship Id="rId2" Type="http://schemas.openxmlformats.org/officeDocument/2006/relationships/slideLayout" Target="../slideLayouts/slideLayout32.xml"/><Relationship Id="rId16" Type="http://schemas.openxmlformats.org/officeDocument/2006/relationships/tags" Target="../tags/tag85.xml"/><Relationship Id="rId20" Type="http://schemas.openxmlformats.org/officeDocument/2006/relationships/tags" Target="../tags/tag89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80.xml"/><Relationship Id="rId24" Type="http://schemas.openxmlformats.org/officeDocument/2006/relationships/tags" Target="../tags/tag93.xml"/><Relationship Id="rId5" Type="http://schemas.openxmlformats.org/officeDocument/2006/relationships/slideLayout" Target="../slideLayouts/slideLayout35.xml"/><Relationship Id="rId15" Type="http://schemas.openxmlformats.org/officeDocument/2006/relationships/tags" Target="../tags/tag84.xml"/><Relationship Id="rId23" Type="http://schemas.openxmlformats.org/officeDocument/2006/relationships/tags" Target="../tags/tag92.xml"/><Relationship Id="rId28" Type="http://schemas.openxmlformats.org/officeDocument/2006/relationships/tags" Target="../tags/tag97.xml"/><Relationship Id="rId10" Type="http://schemas.openxmlformats.org/officeDocument/2006/relationships/tags" Target="../tags/tag79.xml"/><Relationship Id="rId19" Type="http://schemas.openxmlformats.org/officeDocument/2006/relationships/tags" Target="../tags/tag88.xml"/><Relationship Id="rId4" Type="http://schemas.openxmlformats.org/officeDocument/2006/relationships/slideLayout" Target="../slideLayouts/slideLayout34.xml"/><Relationship Id="rId9" Type="http://schemas.openxmlformats.org/officeDocument/2006/relationships/theme" Target="../theme/theme4.xml"/><Relationship Id="rId14" Type="http://schemas.openxmlformats.org/officeDocument/2006/relationships/tags" Target="../tags/tag83.xml"/><Relationship Id="rId22" Type="http://schemas.openxmlformats.org/officeDocument/2006/relationships/tags" Target="../tags/tag91.xml"/><Relationship Id="rId27" Type="http://schemas.openxmlformats.org/officeDocument/2006/relationships/tags" Target="../tags/tag96.xml"/><Relationship Id="rId30" Type="http://schemas.openxmlformats.org/officeDocument/2006/relationships/image" Target="../media/image9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16.xml"/><Relationship Id="rId13" Type="http://schemas.openxmlformats.org/officeDocument/2006/relationships/tags" Target="../tags/tag121.xml"/><Relationship Id="rId18" Type="http://schemas.openxmlformats.org/officeDocument/2006/relationships/tags" Target="../tags/tag126.xml"/><Relationship Id="rId26" Type="http://schemas.openxmlformats.org/officeDocument/2006/relationships/tags" Target="../tags/tag134.xml"/><Relationship Id="rId3" Type="http://schemas.openxmlformats.org/officeDocument/2006/relationships/slideLayout" Target="../slideLayouts/slideLayout41.xml"/><Relationship Id="rId21" Type="http://schemas.openxmlformats.org/officeDocument/2006/relationships/tags" Target="../tags/tag129.xml"/><Relationship Id="rId7" Type="http://schemas.openxmlformats.org/officeDocument/2006/relationships/theme" Target="../theme/theme5.xml"/><Relationship Id="rId12" Type="http://schemas.openxmlformats.org/officeDocument/2006/relationships/tags" Target="../tags/tag120.xml"/><Relationship Id="rId17" Type="http://schemas.openxmlformats.org/officeDocument/2006/relationships/tags" Target="../tags/tag125.xml"/><Relationship Id="rId25" Type="http://schemas.openxmlformats.org/officeDocument/2006/relationships/tags" Target="../tags/tag133.xml"/><Relationship Id="rId2" Type="http://schemas.openxmlformats.org/officeDocument/2006/relationships/slideLayout" Target="../slideLayouts/slideLayout40.xml"/><Relationship Id="rId16" Type="http://schemas.openxmlformats.org/officeDocument/2006/relationships/tags" Target="../tags/tag124.xml"/><Relationship Id="rId20" Type="http://schemas.openxmlformats.org/officeDocument/2006/relationships/tags" Target="../tags/tag128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tags" Target="../tags/tag119.xml"/><Relationship Id="rId24" Type="http://schemas.openxmlformats.org/officeDocument/2006/relationships/tags" Target="../tags/tag132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123.xml"/><Relationship Id="rId23" Type="http://schemas.openxmlformats.org/officeDocument/2006/relationships/tags" Target="../tags/tag131.xml"/><Relationship Id="rId28" Type="http://schemas.openxmlformats.org/officeDocument/2006/relationships/image" Target="../media/image9.emf"/><Relationship Id="rId10" Type="http://schemas.openxmlformats.org/officeDocument/2006/relationships/tags" Target="../tags/tag118.xml"/><Relationship Id="rId19" Type="http://schemas.openxmlformats.org/officeDocument/2006/relationships/tags" Target="../tags/tag127.xml"/><Relationship Id="rId4" Type="http://schemas.openxmlformats.org/officeDocument/2006/relationships/slideLayout" Target="../slideLayouts/slideLayout42.xml"/><Relationship Id="rId9" Type="http://schemas.openxmlformats.org/officeDocument/2006/relationships/tags" Target="../tags/tag117.xml"/><Relationship Id="rId14" Type="http://schemas.openxmlformats.org/officeDocument/2006/relationships/tags" Target="../tags/tag122.xml"/><Relationship Id="rId22" Type="http://schemas.openxmlformats.org/officeDocument/2006/relationships/tags" Target="../tags/tag130.xml"/><Relationship Id="rId27" Type="http://schemas.openxmlformats.org/officeDocument/2006/relationships/oleObject" Target="../embeddings/oleObject4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ags" Target="../tags/tag152.xml"/><Relationship Id="rId18" Type="http://schemas.openxmlformats.org/officeDocument/2006/relationships/tags" Target="../tags/tag157.xml"/><Relationship Id="rId26" Type="http://schemas.openxmlformats.org/officeDocument/2006/relationships/tags" Target="../tags/tag165.xml"/><Relationship Id="rId3" Type="http://schemas.openxmlformats.org/officeDocument/2006/relationships/slideLayout" Target="../slideLayouts/slideLayout47.xml"/><Relationship Id="rId21" Type="http://schemas.openxmlformats.org/officeDocument/2006/relationships/tags" Target="../tags/tag160.xml"/><Relationship Id="rId7" Type="http://schemas.openxmlformats.org/officeDocument/2006/relationships/slideLayout" Target="../slideLayouts/slideLayout51.xml"/><Relationship Id="rId12" Type="http://schemas.openxmlformats.org/officeDocument/2006/relationships/tags" Target="../tags/tag151.xml"/><Relationship Id="rId17" Type="http://schemas.openxmlformats.org/officeDocument/2006/relationships/tags" Target="../tags/tag156.xml"/><Relationship Id="rId25" Type="http://schemas.openxmlformats.org/officeDocument/2006/relationships/tags" Target="../tags/tag164.xml"/><Relationship Id="rId2" Type="http://schemas.openxmlformats.org/officeDocument/2006/relationships/slideLayout" Target="../slideLayouts/slideLayout46.xml"/><Relationship Id="rId16" Type="http://schemas.openxmlformats.org/officeDocument/2006/relationships/tags" Target="../tags/tag155.xml"/><Relationship Id="rId20" Type="http://schemas.openxmlformats.org/officeDocument/2006/relationships/tags" Target="../tags/tag159.xml"/><Relationship Id="rId29" Type="http://schemas.openxmlformats.org/officeDocument/2006/relationships/oleObject" Target="../embeddings/oleObject4.bin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tags" Target="../tags/tag150.xml"/><Relationship Id="rId24" Type="http://schemas.openxmlformats.org/officeDocument/2006/relationships/tags" Target="../tags/tag163.xml"/><Relationship Id="rId5" Type="http://schemas.openxmlformats.org/officeDocument/2006/relationships/slideLayout" Target="../slideLayouts/slideLayout49.xml"/><Relationship Id="rId15" Type="http://schemas.openxmlformats.org/officeDocument/2006/relationships/tags" Target="../tags/tag154.xml"/><Relationship Id="rId23" Type="http://schemas.openxmlformats.org/officeDocument/2006/relationships/tags" Target="../tags/tag162.xml"/><Relationship Id="rId28" Type="http://schemas.openxmlformats.org/officeDocument/2006/relationships/tags" Target="../tags/tag167.xml"/><Relationship Id="rId10" Type="http://schemas.openxmlformats.org/officeDocument/2006/relationships/tags" Target="../tags/tag149.xml"/><Relationship Id="rId19" Type="http://schemas.openxmlformats.org/officeDocument/2006/relationships/tags" Target="../tags/tag158.xml"/><Relationship Id="rId4" Type="http://schemas.openxmlformats.org/officeDocument/2006/relationships/slideLayout" Target="../slideLayouts/slideLayout48.xml"/><Relationship Id="rId9" Type="http://schemas.openxmlformats.org/officeDocument/2006/relationships/theme" Target="../theme/theme6.xml"/><Relationship Id="rId14" Type="http://schemas.openxmlformats.org/officeDocument/2006/relationships/tags" Target="../tags/tag153.xml"/><Relationship Id="rId22" Type="http://schemas.openxmlformats.org/officeDocument/2006/relationships/tags" Target="../tags/tag161.xml"/><Relationship Id="rId27" Type="http://schemas.openxmlformats.org/officeDocument/2006/relationships/tags" Target="../tags/tag166.xml"/><Relationship Id="rId30" Type="http://schemas.openxmlformats.org/officeDocument/2006/relationships/image" Target="../media/image9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image" Target="../media/image1.jpg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62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image" Target="../media/image12.png"/><Relationship Id="rId3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theme" Target="../theme/theme8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78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7.xml"/><Relationship Id="rId7" Type="http://schemas.openxmlformats.org/officeDocument/2006/relationships/image" Target="../media/image16.png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theme" Target="../theme/theme9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  <a:prstGeom prst="rect">
            <a:avLst/>
          </a:prstGeom>
        </p:spPr>
        <p:txBody>
          <a:bodyPr lIns="0" tIns="0" rIns="0" bIns="0" anchor="t"/>
          <a:lstStyle/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473" y="1185808"/>
            <a:ext cx="11322630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 descr="A blue logo with white text&#10;&#10;Description automatically generated with low confidence">
            <a:extLst>
              <a:ext uri="{FF2B5EF4-FFF2-40B4-BE49-F238E27FC236}">
                <a16:creationId xmlns:a16="http://schemas.microsoft.com/office/drawing/2014/main" id="{B530192F-A8E1-4B87-8DD1-ED25540525BB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1049000" y="6407680"/>
            <a:ext cx="979295" cy="38364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4B4866-2B05-4E94-867F-4669777DB313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2407900" y="-115311"/>
            <a:ext cx="990600" cy="623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000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98" r:id="rId2"/>
    <p:sldLayoutId id="2147483699" r:id="rId3"/>
    <p:sldLayoutId id="2147483686" r:id="rId4"/>
    <p:sldLayoutId id="2147483693" r:id="rId5"/>
    <p:sldLayoutId id="2147483694" r:id="rId6"/>
    <p:sldLayoutId id="2147483700" r:id="rId7"/>
    <p:sldLayoutId id="2147483695" r:id="rId8"/>
    <p:sldLayoutId id="2147483701" r:id="rId9"/>
    <p:sldLayoutId id="2147483696" r:id="rId10"/>
    <p:sldLayoutId id="2147483689" r:id="rId11"/>
    <p:sldLayoutId id="2147483702" r:id="rId12"/>
    <p:sldLayoutId id="2147483697" r:id="rId13"/>
    <p:sldLayoutId id="2147483743" r:id="rId14"/>
    <p:sldLayoutId id="2147483744" r:id="rId15"/>
    <p:sldLayoutId id="2147483745" r:id="rId16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726863" algn="r"/>
        </a:tabLst>
        <a:defRPr lang="en-US" sz="3200" b="1" kern="1200" spc="-150" dirty="0">
          <a:solidFill>
            <a:schemeClr val="accent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charset="2"/>
        <a:buChar char="§"/>
        <a:defRPr sz="24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lang="en-US" sz="2000" b="0" kern="120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8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  <a:prstGeom prst="rect">
            <a:avLst/>
          </a:prstGeom>
        </p:spPr>
        <p:txBody>
          <a:bodyPr lIns="0" tIns="0" rIns="0" bIns="0" anchor="t"/>
          <a:lstStyle/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473" y="1185808"/>
            <a:ext cx="11322630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 descr="A blue logo with white text&#10;&#10;Description automatically generated with low confidence">
            <a:extLst>
              <a:ext uri="{FF2B5EF4-FFF2-40B4-BE49-F238E27FC236}">
                <a16:creationId xmlns:a16="http://schemas.microsoft.com/office/drawing/2014/main" id="{B530192F-A8E1-4B87-8DD1-ED25540525BB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1049000" y="6407680"/>
            <a:ext cx="979295" cy="38364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4B4866-2B05-4E94-867F-4669777DB31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2407900" y="-115311"/>
            <a:ext cx="990600" cy="623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0411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726863" algn="r"/>
        </a:tabLst>
        <a:defRPr lang="en-US" sz="3200" b="1" kern="1200" spc="-150" dirty="0">
          <a:solidFill>
            <a:schemeClr val="accent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charset="2"/>
        <a:buChar char="§"/>
        <a:defRPr sz="24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lang="en-US" sz="2000" b="0" kern="120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8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  <a:prstGeom prst="rect">
            <a:avLst/>
          </a:prstGeom>
        </p:spPr>
        <p:txBody>
          <a:bodyPr lIns="0" tIns="0" rIns="0" bIns="0" anchor="t"/>
          <a:lstStyle/>
          <a:p>
            <a:pPr marL="0"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473" y="1185808"/>
            <a:ext cx="11322630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5" name="Picture 4" descr="A blue logo with white text&#10;&#10;Description automatically generated with low confidence">
            <a:extLst>
              <a:ext uri="{FF2B5EF4-FFF2-40B4-BE49-F238E27FC236}">
                <a16:creationId xmlns:a16="http://schemas.microsoft.com/office/drawing/2014/main" id="{B530192F-A8E1-4B87-8DD1-ED25540525BB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1049000" y="6407680"/>
            <a:ext cx="979295" cy="38364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4B4866-2B05-4E94-867F-4669777DB313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2407900" y="-115311"/>
            <a:ext cx="990600" cy="623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3823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  <p:sldLayoutId id="2147483842" r:id="rId13"/>
    <p:sldLayoutId id="2147483843" r:id="rId14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726863" algn="r"/>
        </a:tabLst>
        <a:defRPr lang="en-US" sz="3200" b="1" kern="1200" spc="-150" dirty="0">
          <a:solidFill>
            <a:schemeClr val="accent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charset="2"/>
        <a:buChar char="§"/>
        <a:defRPr sz="24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lang="en-US" sz="2000" b="0" kern="120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8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73133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882615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3" r:id="rId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624724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3" imgH="416" progId="TCLayout.ActiveDocument.1">
                  <p:embed/>
                </p:oleObj>
              </mc:Choice>
              <mc:Fallback>
                <p:oleObj name="think-cell Slide" r:id="rId2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034789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20" r:id="rId5"/>
    <p:sldLayoutId id="2147483721" r:id="rId6"/>
    <p:sldLayoutId id="2147483722" r:id="rId7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132370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3" imgH="416" progId="TCLayout.ActiveDocument.1">
                  <p:embed/>
                </p:oleObj>
              </mc:Choice>
              <mc:Fallback>
                <p:oleObj name="think-cell Slide" r:id="rId2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42793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46124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13" imgH="416" progId="TCLayout.ActiveDocument.1">
                  <p:embed/>
                </p:oleObj>
              </mc:Choice>
              <mc:Fallback>
                <p:oleObj name="think-cell Slide" r:id="rId27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9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1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37275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9" r:id="rId5"/>
    <p:sldLayoutId id="2147483740" r:id="rId6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4931525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413" imgH="416" progId="TCLayout.ActiveDocument.1">
                  <p:embed/>
                </p:oleObj>
              </mc:Choice>
              <mc:Fallback>
                <p:oleObj name="think-cell Slide" r:id="rId2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1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1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 dirty="0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554770" y="4322824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8" name="LegendMoons" hidden="1">
            <a:extLst>
              <a:ext uri="{FF2B5EF4-FFF2-40B4-BE49-F238E27FC236}">
                <a16:creationId xmlns:a16="http://schemas.microsoft.com/office/drawing/2014/main" id="{DDFB4BFF-188C-450D-B4D3-DF8BD2DB3D7F}"/>
              </a:ext>
            </a:extLst>
          </p:cNvPr>
          <p:cNvGrpSpPr/>
          <p:nvPr userDrawn="1"/>
        </p:nvGrpSpPr>
        <p:grpSpPr>
          <a:xfrm>
            <a:off x="7723680" y="1702457"/>
            <a:ext cx="1023616" cy="1731859"/>
            <a:chOff x="7723680" y="1702457"/>
            <a:chExt cx="1023616" cy="1731859"/>
          </a:xfrm>
        </p:grpSpPr>
        <p:sp>
          <p:nvSpPr>
            <p:cNvPr id="149" name="Legend1">
              <a:extLst>
                <a:ext uri="{FF2B5EF4-FFF2-40B4-BE49-F238E27FC236}">
                  <a16:creationId xmlns:a16="http://schemas.microsoft.com/office/drawing/2014/main" id="{66D8D147-F2B4-4250-9C41-767555E1432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2">
              <a:extLst>
                <a:ext uri="{FF2B5EF4-FFF2-40B4-BE49-F238E27FC236}">
                  <a16:creationId xmlns:a16="http://schemas.microsoft.com/office/drawing/2014/main" id="{E9DCC6EC-92E6-47D0-B23D-94365AC17441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3">
              <a:extLst>
                <a:ext uri="{FF2B5EF4-FFF2-40B4-BE49-F238E27FC236}">
                  <a16:creationId xmlns:a16="http://schemas.microsoft.com/office/drawing/2014/main" id="{8451F4C0-E484-44FD-B923-EE0B1E1D1274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2" name="Legend4">
              <a:extLst>
                <a:ext uri="{FF2B5EF4-FFF2-40B4-BE49-F238E27FC236}">
                  <a16:creationId xmlns:a16="http://schemas.microsoft.com/office/drawing/2014/main" id="{508A2D78-9A17-4FB2-A405-02E4BB25DD6C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3" name="Legend5">
              <a:extLst>
                <a:ext uri="{FF2B5EF4-FFF2-40B4-BE49-F238E27FC236}">
                  <a16:creationId xmlns:a16="http://schemas.microsoft.com/office/drawing/2014/main" id="{CF32E1C9-EF64-41BC-8B8E-B7FED880E653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4" name="MoonLegend1">
              <a:extLst>
                <a:ext uri="{FF2B5EF4-FFF2-40B4-BE49-F238E27FC236}">
                  <a16:creationId xmlns:a16="http://schemas.microsoft.com/office/drawing/2014/main" id="{496CCEDB-0BDA-47D9-9BA4-03BD59D6EEC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7" name="Oval 166">
                <a:extLst>
                  <a:ext uri="{FF2B5EF4-FFF2-40B4-BE49-F238E27FC236}">
                    <a16:creationId xmlns:a16="http://schemas.microsoft.com/office/drawing/2014/main" id="{F21E8F0F-ACA9-405E-8484-3FE9B6124FFD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8" name="Arc 167" hidden="1">
                <a:extLst>
                  <a:ext uri="{FF2B5EF4-FFF2-40B4-BE49-F238E27FC236}">
                    <a16:creationId xmlns:a16="http://schemas.microsoft.com/office/drawing/2014/main" id="{315D8D40-04AC-475B-AFC0-F08E492D131D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5" name="MoonLegend2">
              <a:extLst>
                <a:ext uri="{FF2B5EF4-FFF2-40B4-BE49-F238E27FC236}">
                  <a16:creationId xmlns:a16="http://schemas.microsoft.com/office/drawing/2014/main" id="{BCF3BE62-91BA-488B-84C7-3FE20CFBDB9A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D27FF75E-C9E0-4D28-8F47-85C2D2EE375F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>
                <a:extLst>
                  <a:ext uri="{FF2B5EF4-FFF2-40B4-BE49-F238E27FC236}">
                    <a16:creationId xmlns:a16="http://schemas.microsoft.com/office/drawing/2014/main" id="{BDC4F596-0330-4D95-8A02-83794DACDB00}"/>
                  </a:ext>
                </a:extLst>
              </p:cNvPr>
              <p:cNvSpPr/>
              <p:nvPr>
                <p:custDataLst>
                  <p:tags r:id="rId2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6" name="MoonLegend3">
              <a:extLst>
                <a:ext uri="{FF2B5EF4-FFF2-40B4-BE49-F238E27FC236}">
                  <a16:creationId xmlns:a16="http://schemas.microsoft.com/office/drawing/2014/main" id="{E4482EDB-85E9-4926-9441-26A85880E202}"/>
                </a:ext>
              </a:extLst>
            </p:cNvPr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6B270099-CB45-46A3-8BC6-ADF0FABD3567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4D910DDA-12F5-450E-85C1-CD98B4A9EE80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7" name="MoonLegend4">
              <a:extLst>
                <a:ext uri="{FF2B5EF4-FFF2-40B4-BE49-F238E27FC236}">
                  <a16:creationId xmlns:a16="http://schemas.microsoft.com/office/drawing/2014/main" id="{2606D4D9-DA1B-4BEB-8CC9-41FDA33CC5A0}"/>
                </a:ext>
              </a:extLst>
            </p:cNvPr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81477097-8655-4968-A993-EA579ADDDBCF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EAFFF099-23A4-4400-9308-28EB2E760A74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  <p:grpSp>
          <p:nvGrpSpPr>
            <p:cNvPr id="158" name="MoonLegend5">
              <a:extLst>
                <a:ext uri="{FF2B5EF4-FFF2-40B4-BE49-F238E27FC236}">
                  <a16:creationId xmlns:a16="http://schemas.microsoft.com/office/drawing/2014/main" id="{157F392C-3A22-465F-B4F0-A7E9FD7A01A1}"/>
                </a:ext>
              </a:extLst>
            </p:cNvPr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BE9440E9-0BAB-4509-A556-8A80E9683FAB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CA6DB424-2E98-4F1D-87A4-EE09FA805687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367929" y="3301675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847464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  <p:sldLayoutId id="2147483751" r:id="rId4"/>
    <p:sldLayoutId id="2147483752" r:id="rId5"/>
    <p:sldLayoutId id="2147483753" r:id="rId6"/>
    <p:sldLayoutId id="2147483754" r:id="rId7"/>
    <p:sldLayoutId id="2147483755" r:id="rId8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6473" y="382739"/>
            <a:ext cx="11322630" cy="645103"/>
          </a:xfrm>
          <a:prstGeom prst="rect">
            <a:avLst/>
          </a:prstGeom>
        </p:spPr>
        <p:txBody>
          <a:bodyPr lIns="0" tIns="0" rIns="0" bIns="0" anchor="t"/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473" y="1185808"/>
            <a:ext cx="11322630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 descr="A blue logo with white text&#10;&#10;Description automatically generated with low confidence">
            <a:extLst>
              <a:ext uri="{FF2B5EF4-FFF2-40B4-BE49-F238E27FC236}">
                <a16:creationId xmlns:a16="http://schemas.microsoft.com/office/drawing/2014/main" id="{B530192F-A8E1-4B87-8DD1-ED25540525BB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1049000" y="6407680"/>
            <a:ext cx="979295" cy="38364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E4B4866-2B05-4E94-867F-4669777DB313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12407900" y="-115311"/>
            <a:ext cx="990600" cy="6238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4395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1" r:id="rId14"/>
    <p:sldLayoutId id="2147483772" r:id="rId15"/>
    <p:sldLayoutId id="2147483773" r:id="rId16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726863" algn="r"/>
        </a:tabLst>
        <a:defRPr lang="en-US" sz="3200" b="1" kern="1200" spc="-150" dirty="0">
          <a:solidFill>
            <a:schemeClr val="accent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charset="2"/>
        <a:buChar char="§"/>
        <a:defRPr sz="24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lang="en-US" sz="2000" b="0" kern="1200" dirty="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8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b="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27259" y="136301"/>
            <a:ext cx="11502189" cy="1028356"/>
          </a:xfrm>
          <a:prstGeom prst="rect">
            <a:avLst/>
          </a:prstGeom>
        </p:spPr>
        <p:txBody>
          <a:bodyPr anchor="ctr"/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27259" y="1549474"/>
            <a:ext cx="11502189" cy="49634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8" name="Group 7"/>
          <p:cNvGrpSpPr/>
          <p:nvPr userDrawn="1"/>
        </p:nvGrpSpPr>
        <p:grpSpPr>
          <a:xfrm>
            <a:off x="12334370" y="0"/>
            <a:ext cx="630411" cy="5631059"/>
            <a:chOff x="270583" y="284669"/>
            <a:chExt cx="630411" cy="5631059"/>
          </a:xfrm>
        </p:grpSpPr>
        <p:sp>
          <p:nvSpPr>
            <p:cNvPr id="9" name="Rectangle 8"/>
            <p:cNvSpPr/>
            <p:nvPr/>
          </p:nvSpPr>
          <p:spPr>
            <a:xfrm>
              <a:off x="270583" y="507182"/>
              <a:ext cx="630411" cy="319426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70583" y="284669"/>
              <a:ext cx="630411" cy="22736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270583" y="1288169"/>
              <a:ext cx="630411" cy="318611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270583" y="1606780"/>
              <a:ext cx="630411" cy="227363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270583" y="1834143"/>
              <a:ext cx="630411" cy="2273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270583" y="818142"/>
              <a:ext cx="630411" cy="47002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70583" y="2434293"/>
              <a:ext cx="262817" cy="31942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270583" y="2211780"/>
              <a:ext cx="262817" cy="227363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70583" y="3215280"/>
              <a:ext cx="262817" cy="318611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270583" y="3533891"/>
              <a:ext cx="262817" cy="227363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270583" y="3761254"/>
              <a:ext cx="262817" cy="227363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270583" y="2745253"/>
              <a:ext cx="262817" cy="47002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270583" y="4361404"/>
              <a:ext cx="262817" cy="319426"/>
            </a:xfrm>
            <a:prstGeom prst="rect">
              <a:avLst/>
            </a:prstGeom>
            <a:solidFill>
              <a:schemeClr val="accent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70583" y="4138891"/>
              <a:ext cx="262817" cy="227363"/>
            </a:xfrm>
            <a:prstGeom prst="rect">
              <a:avLst/>
            </a:prstGeom>
            <a:solidFill>
              <a:schemeClr val="accent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70583" y="5142391"/>
              <a:ext cx="262817" cy="318611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70583" y="5461002"/>
              <a:ext cx="262817" cy="227363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270583" y="5688365"/>
              <a:ext cx="262817" cy="227363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270583" y="4672364"/>
              <a:ext cx="262817" cy="470027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638177" y="2434293"/>
              <a:ext cx="262817" cy="319426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638177" y="2211780"/>
              <a:ext cx="262817" cy="227363"/>
            </a:xfrm>
            <a:prstGeom prst="rect">
              <a:avLst/>
            </a:prstGeom>
            <a:solidFill>
              <a:schemeClr val="accent5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638177" y="3215280"/>
              <a:ext cx="262817" cy="318611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638177" y="3533891"/>
              <a:ext cx="262817" cy="227363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638177" y="3761254"/>
              <a:ext cx="262817" cy="22736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638177" y="2745253"/>
              <a:ext cx="262817" cy="470027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638177" y="4361404"/>
              <a:ext cx="262817" cy="319426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38177" y="4138891"/>
              <a:ext cx="262817" cy="227363"/>
            </a:xfrm>
            <a:prstGeom prst="rect">
              <a:avLst/>
            </a:prstGeom>
            <a:solidFill>
              <a:schemeClr val="accent4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638177" y="5142391"/>
              <a:ext cx="262817" cy="318611"/>
            </a:xfrm>
            <a:prstGeom prst="rect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638177" y="5461002"/>
              <a:ext cx="262817" cy="227363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638177" y="5688365"/>
              <a:ext cx="262817" cy="227363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638177" y="4672364"/>
              <a:ext cx="262817" cy="470027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latin typeface="Open Sans" charset="0"/>
                <a:ea typeface="Open Sans" charset="0"/>
                <a:cs typeface="Open Sans" charset="0"/>
              </a:endParaRPr>
            </a:p>
          </p:txBody>
        </p:sp>
      </p:grpSp>
      <p:pic>
        <p:nvPicPr>
          <p:cNvPr id="39" name="Picture 38"/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-790473" y="1547"/>
            <a:ext cx="648103" cy="5631059"/>
          </a:xfrm>
          <a:prstGeom prst="rect">
            <a:avLst/>
          </a:prstGeom>
        </p:spPr>
      </p:pic>
      <p:grpSp>
        <p:nvGrpSpPr>
          <p:cNvPr id="68" name="Group 67"/>
          <p:cNvGrpSpPr/>
          <p:nvPr userDrawn="1"/>
        </p:nvGrpSpPr>
        <p:grpSpPr>
          <a:xfrm>
            <a:off x="12334370" y="6458658"/>
            <a:ext cx="645103" cy="645103"/>
            <a:chOff x="1392067" y="5700745"/>
            <a:chExt cx="1476376" cy="1476376"/>
          </a:xfrm>
        </p:grpSpPr>
        <p:sp>
          <p:nvSpPr>
            <p:cNvPr id="63" name="Oval 62"/>
            <p:cNvSpPr/>
            <p:nvPr userDrawn="1"/>
          </p:nvSpPr>
          <p:spPr>
            <a:xfrm>
              <a:off x="1392067" y="5700745"/>
              <a:ext cx="1476376" cy="147637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64" name="Group 63"/>
            <p:cNvGrpSpPr/>
            <p:nvPr userDrawn="1"/>
          </p:nvGrpSpPr>
          <p:grpSpPr>
            <a:xfrm>
              <a:off x="1528123" y="5884816"/>
              <a:ext cx="1096367" cy="1128432"/>
              <a:chOff x="1108747" y="836614"/>
              <a:chExt cx="5715613" cy="5896288"/>
            </a:xfrm>
            <a:solidFill>
              <a:schemeClr val="accent1"/>
            </a:solidFill>
            <a:effectLst/>
          </p:grpSpPr>
          <p:sp>
            <p:nvSpPr>
              <p:cNvPr id="65" name="Block Arc 64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6" name="Block Arc 65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Block Arc 66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75" name="Group 74"/>
          <p:cNvGrpSpPr/>
          <p:nvPr userDrawn="1"/>
        </p:nvGrpSpPr>
        <p:grpSpPr>
          <a:xfrm>
            <a:off x="12334370" y="5722307"/>
            <a:ext cx="645103" cy="645103"/>
            <a:chOff x="5429627" y="6600192"/>
            <a:chExt cx="645103" cy="645103"/>
          </a:xfrm>
        </p:grpSpPr>
        <p:sp>
          <p:nvSpPr>
            <p:cNvPr id="70" name="Oval 69"/>
            <p:cNvSpPr/>
            <p:nvPr userDrawn="1"/>
          </p:nvSpPr>
          <p:spPr>
            <a:xfrm>
              <a:off x="5429627" y="6600192"/>
              <a:ext cx="645103" cy="64510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1" name="Group 70"/>
            <p:cNvGrpSpPr/>
            <p:nvPr userDrawn="1"/>
          </p:nvGrpSpPr>
          <p:grpSpPr>
            <a:xfrm>
              <a:off x="5489308" y="6682957"/>
              <a:ext cx="479058" cy="493069"/>
              <a:chOff x="1108747" y="836614"/>
              <a:chExt cx="5715613" cy="5896288"/>
            </a:xfrm>
            <a:solidFill>
              <a:schemeClr val="bg1"/>
            </a:solidFill>
            <a:effectLst/>
          </p:grpSpPr>
          <p:sp>
            <p:nvSpPr>
              <p:cNvPr id="72" name="Block Arc 71"/>
              <p:cNvSpPr/>
              <p:nvPr/>
            </p:nvSpPr>
            <p:spPr>
              <a:xfrm>
                <a:off x="2797018" y="836614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Block Arc 72"/>
              <p:cNvSpPr/>
              <p:nvPr/>
            </p:nvSpPr>
            <p:spPr>
              <a:xfrm rot="7200000">
                <a:off x="2936571" y="2845112"/>
                <a:ext cx="3887786" cy="3887793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4" name="Block Arc 73"/>
              <p:cNvSpPr/>
              <p:nvPr/>
            </p:nvSpPr>
            <p:spPr>
              <a:xfrm rot="14400000">
                <a:off x="1108747" y="1888217"/>
                <a:ext cx="3887786" cy="3887786"/>
              </a:xfrm>
              <a:prstGeom prst="blockArc">
                <a:avLst>
                  <a:gd name="adj1" fmla="val 1784871"/>
                  <a:gd name="adj2" fmla="val 16234242"/>
                  <a:gd name="adj3" fmla="val 8347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03513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787" r:id="rId13"/>
    <p:sldLayoutId id="2147483788" r:id="rId14"/>
    <p:sldLayoutId id="2147483789" r:id="rId15"/>
    <p:sldLayoutId id="214748379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4400" b="1" kern="1200" spc="-300" dirty="0">
          <a:solidFill>
            <a:schemeClr val="accent1">
              <a:lumMod val="50000"/>
            </a:schemeClr>
          </a:solidFill>
          <a:latin typeface="Open Sans" charset="0"/>
          <a:ea typeface="Open Sans" charset="0"/>
          <a:cs typeface="Open Sans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charset="2"/>
        <a:buChar char="§"/>
        <a:defRPr sz="28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24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20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8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800" kern="1200">
          <a:solidFill>
            <a:schemeClr val="tx1"/>
          </a:solidFill>
          <a:latin typeface="Open Sans" charset="0"/>
          <a:ea typeface="Open Sans" charset="0"/>
          <a:cs typeface="Open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0520" y="198013"/>
            <a:ext cx="11824073" cy="645103"/>
          </a:xfrm>
          <a:prstGeom prst="rect">
            <a:avLst/>
          </a:prstGeom>
        </p:spPr>
        <p:txBody>
          <a:bodyPr lIns="0" tIns="0" rIns="0" bIns="0" anchor="t"/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0520" y="1185808"/>
            <a:ext cx="11824073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4" name="Slide Number Placeholder 43">
            <a:extLst>
              <a:ext uri="{FF2B5EF4-FFF2-40B4-BE49-F238E27FC236}">
                <a16:creationId xmlns:a16="http://schemas.microsoft.com/office/drawing/2014/main" id="{2283FF5C-93E8-6645-8B66-DD0645F72E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61131" y="6418055"/>
            <a:ext cx="4197541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lang="en-US" sz="1200" b="1" kern="1200" spc="-100" baseline="0" smtClean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DCRM | </a:t>
            </a:r>
            <a:fld id="{0ED29B20-3CEA-854A-BD57-D4FC107366EF}" type="slidenum">
              <a:rPr smtClean="0"/>
              <a:pPr/>
              <a:t>‹nr.›</a:t>
            </a:fld>
            <a:endParaRPr dirty="0"/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F1E33AE4-D048-E348-BA22-2196CE35730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3328" y="6367464"/>
            <a:ext cx="1135311" cy="365125"/>
          </a:xfrm>
          <a:prstGeom prst="rect">
            <a:avLst/>
          </a:prstGeom>
        </p:spPr>
      </p:pic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51C2B18B-73B7-B84E-970C-672524B997EF}"/>
              </a:ext>
            </a:extLst>
          </p:cNvPr>
          <p:cNvSpPr txBox="1">
            <a:spLocks/>
          </p:cNvSpPr>
          <p:nvPr userDrawn="1"/>
        </p:nvSpPr>
        <p:spPr>
          <a:xfrm rot="16200000">
            <a:off x="8593957" y="3270785"/>
            <a:ext cx="6858002" cy="316428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spc="-300" dirty="0">
                <a:solidFill>
                  <a:schemeClr val="accent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b="0" kern="1200" spc="0" dirty="0">
                <a:solidFill>
                  <a:schemeClr val="accent1">
                    <a:lumMod val="50000"/>
                  </a:schemeClr>
                </a:solidFill>
                <a:latin typeface="Open Sans" charset="0"/>
                <a:ea typeface="Open Sans" charset="0"/>
                <a:cs typeface="Open Sans" charset="0"/>
              </a:rPr>
              <a:t>CONFIDENTIAL AND PROPRIETARY: Any use of this material without specific permission of Nallian is strictly prohibited </a:t>
            </a:r>
          </a:p>
          <a:p>
            <a:pPr algn="ctr"/>
            <a:endParaRPr lang="en-GB" sz="800" b="0" spc="0" dirty="0"/>
          </a:p>
        </p:txBody>
      </p:sp>
    </p:spTree>
    <p:extLst>
      <p:ext uri="{BB962C8B-B14F-4D97-AF65-F5344CB8AC3E}">
        <p14:creationId xmlns:p14="http://schemas.microsoft.com/office/powerpoint/2010/main" val="1835382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</p:sldLayoutIdLst>
  <p:hf hdr="0" ftr="0" dt="0"/>
  <p:txStyles>
    <p:titleStyle>
      <a:lvl1pPr marL="0" indent="0" algn="l" defTabSz="914400" rtl="0" eaLnBrk="1" latinLnBrk="0" hangingPunct="1">
        <a:lnSpc>
          <a:spcPct val="90000"/>
        </a:lnSpc>
        <a:spcBef>
          <a:spcPct val="0"/>
        </a:spcBef>
        <a:buNone/>
        <a:tabLst>
          <a:tab pos="11726863" algn="r"/>
        </a:tabLst>
        <a:defRPr lang="en-US" sz="3600" b="1" kern="1200" spc="-300" dirty="0">
          <a:solidFill>
            <a:schemeClr val="accent1">
              <a:lumMod val="50000"/>
            </a:schemeClr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Wingdings" charset="2"/>
        <a:buChar char="§"/>
        <a:defRPr sz="24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20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8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Wingdings" charset="2"/>
        <a:buChar char="§"/>
        <a:defRPr sz="1600" kern="1200">
          <a:solidFill>
            <a:schemeClr val="tx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8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118.xml"/><Relationship Id="rId6" Type="http://schemas.openxmlformats.org/officeDocument/2006/relationships/image" Target="../media/image73.svg"/><Relationship Id="rId5" Type="http://schemas.openxmlformats.org/officeDocument/2006/relationships/image" Target="../media/image72.png"/><Relationship Id="rId4" Type="http://schemas.openxmlformats.org/officeDocument/2006/relationships/image" Target="../media/image7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traitstimes.com/multimedia/graphics/2021/08/sg-2030/index.html?shell" TargetMode="External"/><Relationship Id="rId2" Type="http://schemas.openxmlformats.org/officeDocument/2006/relationships/hyperlink" Target="https://ukdiss.com/litreview/how-singapore-and-malaysia-dealt-with-financial-crisis.php" TargetMode="External"/><Relationship Id="rId1" Type="http://schemas.openxmlformats.org/officeDocument/2006/relationships/slideLayout" Target="../slideLayouts/slideLayout10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0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.jpeg"/><Relationship Id="rId18" Type="http://schemas.openxmlformats.org/officeDocument/2006/relationships/image" Target="../media/image35.png"/><Relationship Id="rId26" Type="http://schemas.openxmlformats.org/officeDocument/2006/relationships/image" Target="../media/image43.jpeg"/><Relationship Id="rId39" Type="http://schemas.openxmlformats.org/officeDocument/2006/relationships/image" Target="../media/image56.svg"/><Relationship Id="rId21" Type="http://schemas.openxmlformats.org/officeDocument/2006/relationships/image" Target="../media/image38.png"/><Relationship Id="rId34" Type="http://schemas.openxmlformats.org/officeDocument/2006/relationships/image" Target="../media/image51.png"/><Relationship Id="rId42" Type="http://schemas.openxmlformats.org/officeDocument/2006/relationships/image" Target="../media/image59.jpg"/><Relationship Id="rId47" Type="http://schemas.openxmlformats.org/officeDocument/2006/relationships/image" Target="../media/image64.sv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33.PNG"/><Relationship Id="rId29" Type="http://schemas.openxmlformats.org/officeDocument/2006/relationships/image" Target="../media/image46.gif"/><Relationship Id="rId11" Type="http://schemas.openxmlformats.org/officeDocument/2006/relationships/image" Target="../media/image28.jpeg"/><Relationship Id="rId24" Type="http://schemas.openxmlformats.org/officeDocument/2006/relationships/image" Target="../media/image41.png"/><Relationship Id="rId32" Type="http://schemas.openxmlformats.org/officeDocument/2006/relationships/image" Target="../media/image49.jpeg"/><Relationship Id="rId37" Type="http://schemas.openxmlformats.org/officeDocument/2006/relationships/image" Target="../media/image54.svg"/><Relationship Id="rId40" Type="http://schemas.openxmlformats.org/officeDocument/2006/relationships/image" Target="../media/image57.png"/><Relationship Id="rId45" Type="http://schemas.openxmlformats.org/officeDocument/2006/relationships/image" Target="../media/image62.png"/><Relationship Id="rId5" Type="http://schemas.openxmlformats.org/officeDocument/2006/relationships/image" Target="../media/image22.jpeg"/><Relationship Id="rId15" Type="http://schemas.openxmlformats.org/officeDocument/2006/relationships/image" Target="../media/image32.png"/><Relationship Id="rId23" Type="http://schemas.openxmlformats.org/officeDocument/2006/relationships/image" Target="../media/image40.png"/><Relationship Id="rId28" Type="http://schemas.openxmlformats.org/officeDocument/2006/relationships/image" Target="../media/image45.png"/><Relationship Id="rId36" Type="http://schemas.openxmlformats.org/officeDocument/2006/relationships/image" Target="../media/image53.png"/><Relationship Id="rId49" Type="http://schemas.openxmlformats.org/officeDocument/2006/relationships/image" Target="../media/image66.svg"/><Relationship Id="rId10" Type="http://schemas.openxmlformats.org/officeDocument/2006/relationships/image" Target="../media/image27.PNG"/><Relationship Id="rId19" Type="http://schemas.openxmlformats.org/officeDocument/2006/relationships/image" Target="../media/image36.jpeg"/><Relationship Id="rId31" Type="http://schemas.openxmlformats.org/officeDocument/2006/relationships/image" Target="../media/image48.png"/><Relationship Id="rId44" Type="http://schemas.openxmlformats.org/officeDocument/2006/relationships/image" Target="../media/image61.png"/><Relationship Id="rId4" Type="http://schemas.openxmlformats.org/officeDocument/2006/relationships/image" Target="../media/image21.jpg"/><Relationship Id="rId9" Type="http://schemas.openxmlformats.org/officeDocument/2006/relationships/image" Target="../media/image26.png"/><Relationship Id="rId14" Type="http://schemas.openxmlformats.org/officeDocument/2006/relationships/image" Target="../media/image31.jpg"/><Relationship Id="rId22" Type="http://schemas.openxmlformats.org/officeDocument/2006/relationships/image" Target="../media/image39.png"/><Relationship Id="rId27" Type="http://schemas.openxmlformats.org/officeDocument/2006/relationships/image" Target="../media/image44.png"/><Relationship Id="rId30" Type="http://schemas.openxmlformats.org/officeDocument/2006/relationships/image" Target="../media/image47.jpg"/><Relationship Id="rId35" Type="http://schemas.openxmlformats.org/officeDocument/2006/relationships/image" Target="../media/image52.svg"/><Relationship Id="rId43" Type="http://schemas.openxmlformats.org/officeDocument/2006/relationships/image" Target="../media/image60.png"/><Relationship Id="rId48" Type="http://schemas.openxmlformats.org/officeDocument/2006/relationships/image" Target="../media/image65.png"/><Relationship Id="rId8" Type="http://schemas.openxmlformats.org/officeDocument/2006/relationships/image" Target="../media/image25.png"/><Relationship Id="rId3" Type="http://schemas.openxmlformats.org/officeDocument/2006/relationships/image" Target="../media/image20.png"/><Relationship Id="rId12" Type="http://schemas.openxmlformats.org/officeDocument/2006/relationships/image" Target="../media/image29.png"/><Relationship Id="rId17" Type="http://schemas.openxmlformats.org/officeDocument/2006/relationships/image" Target="../media/image34.PNG"/><Relationship Id="rId25" Type="http://schemas.openxmlformats.org/officeDocument/2006/relationships/image" Target="../media/image42.png"/><Relationship Id="rId33" Type="http://schemas.openxmlformats.org/officeDocument/2006/relationships/image" Target="../media/image50.png"/><Relationship Id="rId38" Type="http://schemas.openxmlformats.org/officeDocument/2006/relationships/image" Target="../media/image55.png"/><Relationship Id="rId46" Type="http://schemas.openxmlformats.org/officeDocument/2006/relationships/image" Target="../media/image63.png"/><Relationship Id="rId20" Type="http://schemas.openxmlformats.org/officeDocument/2006/relationships/image" Target="../media/image37.png"/><Relationship Id="rId41" Type="http://schemas.openxmlformats.org/officeDocument/2006/relationships/image" Target="../media/image58.svg"/><Relationship Id="rId1" Type="http://schemas.openxmlformats.org/officeDocument/2006/relationships/slideLayout" Target="../slideLayouts/slideLayout115.xml"/><Relationship Id="rId6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>
            <a:extLst>
              <a:ext uri="{FF2B5EF4-FFF2-40B4-BE49-F238E27FC236}">
                <a16:creationId xmlns:a16="http://schemas.microsoft.com/office/drawing/2014/main" id="{74413504-0661-4417-B174-60A3805CC49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SG" dirty="0"/>
              <a:t>May 24</a:t>
            </a:r>
            <a:r>
              <a:rPr lang="en-SG" baseline="30000" dirty="0"/>
              <a:t>th</a:t>
            </a:r>
            <a:r>
              <a:rPr lang="en-SG" dirty="0"/>
              <a:t> 2023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F327DAD8-276F-4DE0-B0F0-E5984AFAB39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SG" dirty="0" err="1"/>
              <a:t>Tech@venture</a:t>
            </a:r>
            <a:r>
              <a:rPr lang="en-SG" dirty="0"/>
              <a:t> Singapore</a:t>
            </a:r>
            <a:br>
              <a:rPr lang="en-SG" dirty="0"/>
            </a:br>
            <a:r>
              <a:rPr lang="en-SG" dirty="0"/>
              <a:t>Doing business in Singapore</a:t>
            </a:r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37622667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7B642B-EA63-4491-A945-3D97C3EE7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968" y="250118"/>
            <a:ext cx="11438750" cy="940213"/>
          </a:xfrm>
        </p:spPr>
        <p:txBody>
          <a:bodyPr/>
          <a:lstStyle/>
          <a:p>
            <a:pPr algn="l"/>
            <a:r>
              <a:rPr lang="nl-NL" dirty="0"/>
              <a:t>To </a:t>
            </a:r>
            <a:r>
              <a:rPr lang="nl-NL" dirty="0" err="1"/>
              <a:t>an</a:t>
            </a:r>
            <a:r>
              <a:rPr lang="nl-NL" dirty="0"/>
              <a:t> Intelligent Air Cargo Supply Chain 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B3B10-5063-41E6-BF53-DAEAAF1CE3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0698" y="3933018"/>
            <a:ext cx="11438750" cy="2582082"/>
          </a:xfrm>
        </p:spPr>
        <p:txBody>
          <a:bodyPr>
            <a:normAutofit/>
          </a:bodyPr>
          <a:lstStyle/>
          <a:p>
            <a:pPr lvl="0">
              <a:spcAft>
                <a:spcPts val="1200"/>
              </a:spcAft>
            </a:pPr>
            <a:r>
              <a:rPr lang="en-US" dirty="0"/>
              <a:t>A </a:t>
            </a:r>
            <a:r>
              <a:rPr lang="en-US" b="1" dirty="0">
                <a:solidFill>
                  <a:srgbClr val="368EE0"/>
                </a:solidFill>
              </a:rPr>
              <a:t>connected</a:t>
            </a:r>
            <a:r>
              <a:rPr lang="en-US" dirty="0"/>
              <a:t> industry</a:t>
            </a:r>
            <a:endParaRPr lang="en-BE" dirty="0"/>
          </a:p>
          <a:p>
            <a:pPr lvl="0">
              <a:spcAft>
                <a:spcPts val="1200"/>
              </a:spcAft>
            </a:pPr>
            <a:r>
              <a:rPr lang="en-US" b="1" dirty="0">
                <a:solidFill>
                  <a:srgbClr val="368EE0"/>
                </a:solidFill>
              </a:rPr>
              <a:t>Efficiencies</a:t>
            </a:r>
            <a:r>
              <a:rPr lang="en-US" dirty="0"/>
              <a:t> – focus on </a:t>
            </a:r>
            <a:r>
              <a:rPr lang="nl-BE" dirty="0"/>
              <a:t>cross company </a:t>
            </a:r>
            <a:r>
              <a:rPr lang="nl-BE" dirty="0" err="1"/>
              <a:t>processes</a:t>
            </a:r>
            <a:endParaRPr lang="en-BE" dirty="0"/>
          </a:p>
          <a:p>
            <a:pPr lvl="0">
              <a:spcAft>
                <a:spcPts val="1200"/>
              </a:spcAft>
            </a:pPr>
            <a:r>
              <a:rPr lang="en-US" dirty="0"/>
              <a:t>Innovation by </a:t>
            </a:r>
            <a:r>
              <a:rPr lang="en-US" b="1" dirty="0">
                <a:solidFill>
                  <a:srgbClr val="368EE0"/>
                </a:solidFill>
              </a:rPr>
              <a:t>communities and new enablers</a:t>
            </a:r>
          </a:p>
          <a:p>
            <a:pPr lvl="0">
              <a:spcAft>
                <a:spcPts val="1200"/>
              </a:spcAft>
            </a:pPr>
            <a:r>
              <a:rPr lang="en-US" b="1" dirty="0">
                <a:solidFill>
                  <a:srgbClr val="368EE0"/>
                </a:solidFill>
              </a:rPr>
              <a:t>Transparency </a:t>
            </a:r>
            <a:r>
              <a:rPr lang="en-US" dirty="0"/>
              <a:t>for all stakeholders</a:t>
            </a:r>
          </a:p>
          <a:p>
            <a:endParaRPr lang="nl-B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192CFD5-56E5-4AA4-B063-78140E3FAEEF}"/>
              </a:ext>
            </a:extLst>
          </p:cNvPr>
          <p:cNvGrpSpPr/>
          <p:nvPr/>
        </p:nvGrpSpPr>
        <p:grpSpPr>
          <a:xfrm>
            <a:off x="11096043" y="2165516"/>
            <a:ext cx="701675" cy="703263"/>
            <a:chOff x="10679113" y="4646613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5" name="Oval 20">
              <a:extLst>
                <a:ext uri="{FF2B5EF4-FFF2-40B4-BE49-F238E27FC236}">
                  <a16:creationId xmlns:a16="http://schemas.microsoft.com/office/drawing/2014/main" id="{52635B49-8641-4E7C-B6E3-DA8FF464A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9113" y="4646613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76">
              <a:extLst>
                <a:ext uri="{FF2B5EF4-FFF2-40B4-BE49-F238E27FC236}">
                  <a16:creationId xmlns:a16="http://schemas.microsoft.com/office/drawing/2014/main" id="{54B4BBDA-1CC0-43EB-94E1-88FB9019A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500" y="4824413"/>
              <a:ext cx="344488" cy="344488"/>
            </a:xfrm>
            <a:custGeom>
              <a:avLst/>
              <a:gdLst>
                <a:gd name="T0" fmla="*/ 209 w 216"/>
                <a:gd name="T1" fmla="*/ 184 h 216"/>
                <a:gd name="T2" fmla="*/ 144 w 216"/>
                <a:gd name="T3" fmla="*/ 162 h 216"/>
                <a:gd name="T4" fmla="*/ 145 w 216"/>
                <a:gd name="T5" fmla="*/ 131 h 216"/>
                <a:gd name="T6" fmla="*/ 159 w 216"/>
                <a:gd name="T7" fmla="*/ 100 h 216"/>
                <a:gd name="T8" fmla="*/ 165 w 216"/>
                <a:gd name="T9" fmla="*/ 68 h 216"/>
                <a:gd name="T10" fmla="*/ 157 w 216"/>
                <a:gd name="T11" fmla="*/ 57 h 216"/>
                <a:gd name="T12" fmla="*/ 151 w 216"/>
                <a:gd name="T13" fmla="*/ 22 h 216"/>
                <a:gd name="T14" fmla="*/ 116 w 216"/>
                <a:gd name="T15" fmla="*/ 0 h 216"/>
                <a:gd name="T16" fmla="*/ 96 w 216"/>
                <a:gd name="T17" fmla="*/ 6 h 216"/>
                <a:gd name="T18" fmla="*/ 59 w 216"/>
                <a:gd name="T19" fmla="*/ 57 h 216"/>
                <a:gd name="T20" fmla="*/ 51 w 216"/>
                <a:gd name="T21" fmla="*/ 68 h 216"/>
                <a:gd name="T22" fmla="*/ 57 w 216"/>
                <a:gd name="T23" fmla="*/ 100 h 216"/>
                <a:gd name="T24" fmla="*/ 71 w 216"/>
                <a:gd name="T25" fmla="*/ 131 h 216"/>
                <a:gd name="T26" fmla="*/ 72 w 216"/>
                <a:gd name="T27" fmla="*/ 162 h 216"/>
                <a:gd name="T28" fmla="*/ 7 w 216"/>
                <a:gd name="T29" fmla="*/ 184 h 216"/>
                <a:gd name="T30" fmla="*/ 0 w 216"/>
                <a:gd name="T31" fmla="*/ 216 h 216"/>
                <a:gd name="T32" fmla="*/ 108 w 216"/>
                <a:gd name="T33" fmla="*/ 216 h 216"/>
                <a:gd name="T34" fmla="*/ 216 w 216"/>
                <a:gd name="T35" fmla="*/ 216 h 216"/>
                <a:gd name="T36" fmla="*/ 209 w 216"/>
                <a:gd name="T37" fmla="*/ 18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6" h="216">
                  <a:moveTo>
                    <a:pt x="209" y="184"/>
                  </a:moveTo>
                  <a:cubicBezTo>
                    <a:pt x="199" y="172"/>
                    <a:pt x="151" y="177"/>
                    <a:pt x="144" y="162"/>
                  </a:cubicBezTo>
                  <a:cubicBezTo>
                    <a:pt x="129" y="133"/>
                    <a:pt x="135" y="138"/>
                    <a:pt x="145" y="131"/>
                  </a:cubicBezTo>
                  <a:cubicBezTo>
                    <a:pt x="154" y="124"/>
                    <a:pt x="153" y="106"/>
                    <a:pt x="159" y="100"/>
                  </a:cubicBezTo>
                  <a:cubicBezTo>
                    <a:pt x="164" y="93"/>
                    <a:pt x="167" y="75"/>
                    <a:pt x="165" y="68"/>
                  </a:cubicBezTo>
                  <a:cubicBezTo>
                    <a:pt x="162" y="59"/>
                    <a:pt x="158" y="64"/>
                    <a:pt x="157" y="57"/>
                  </a:cubicBezTo>
                  <a:cubicBezTo>
                    <a:pt x="156" y="42"/>
                    <a:pt x="159" y="29"/>
                    <a:pt x="151" y="22"/>
                  </a:cubicBezTo>
                  <a:cubicBezTo>
                    <a:pt x="143" y="15"/>
                    <a:pt x="132" y="0"/>
                    <a:pt x="116" y="0"/>
                  </a:cubicBezTo>
                  <a:cubicBezTo>
                    <a:pt x="110" y="0"/>
                    <a:pt x="103" y="2"/>
                    <a:pt x="96" y="6"/>
                  </a:cubicBezTo>
                  <a:cubicBezTo>
                    <a:pt x="60" y="2"/>
                    <a:pt x="60" y="42"/>
                    <a:pt x="59" y="57"/>
                  </a:cubicBezTo>
                  <a:cubicBezTo>
                    <a:pt x="58" y="64"/>
                    <a:pt x="54" y="59"/>
                    <a:pt x="51" y="68"/>
                  </a:cubicBezTo>
                  <a:cubicBezTo>
                    <a:pt x="49" y="75"/>
                    <a:pt x="52" y="93"/>
                    <a:pt x="57" y="100"/>
                  </a:cubicBezTo>
                  <a:cubicBezTo>
                    <a:pt x="62" y="106"/>
                    <a:pt x="62" y="124"/>
                    <a:pt x="71" y="131"/>
                  </a:cubicBezTo>
                  <a:cubicBezTo>
                    <a:pt x="80" y="138"/>
                    <a:pt x="86" y="133"/>
                    <a:pt x="72" y="162"/>
                  </a:cubicBezTo>
                  <a:cubicBezTo>
                    <a:pt x="64" y="177"/>
                    <a:pt x="17" y="172"/>
                    <a:pt x="7" y="184"/>
                  </a:cubicBezTo>
                  <a:cubicBezTo>
                    <a:pt x="0" y="194"/>
                    <a:pt x="0" y="216"/>
                    <a:pt x="0" y="216"/>
                  </a:cubicBezTo>
                  <a:cubicBezTo>
                    <a:pt x="108" y="216"/>
                    <a:pt x="108" y="216"/>
                    <a:pt x="108" y="216"/>
                  </a:cubicBezTo>
                  <a:cubicBezTo>
                    <a:pt x="216" y="216"/>
                    <a:pt x="216" y="216"/>
                    <a:pt x="216" y="216"/>
                  </a:cubicBezTo>
                  <a:cubicBezTo>
                    <a:pt x="216" y="216"/>
                    <a:pt x="216" y="194"/>
                    <a:pt x="209" y="184"/>
                  </a:cubicBezTo>
                  <a:close/>
                </a:path>
              </a:pathLst>
            </a:custGeom>
            <a:grp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3F01A45-7A06-4811-BDA8-1A7E3FA2056F}"/>
              </a:ext>
            </a:extLst>
          </p:cNvPr>
          <p:cNvGrpSpPr/>
          <p:nvPr/>
        </p:nvGrpSpPr>
        <p:grpSpPr>
          <a:xfrm>
            <a:off x="1344213" y="2165516"/>
            <a:ext cx="703263" cy="703263"/>
            <a:chOff x="5316538" y="151447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8" name="Oval 12">
              <a:extLst>
                <a:ext uri="{FF2B5EF4-FFF2-40B4-BE49-F238E27FC236}">
                  <a16:creationId xmlns:a16="http://schemas.microsoft.com/office/drawing/2014/main" id="{C74BCBD6-09C1-49C4-9846-F7E252A75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6538" y="151447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Line 82">
              <a:extLst>
                <a:ext uri="{FF2B5EF4-FFF2-40B4-BE49-F238E27FC236}">
                  <a16:creationId xmlns:a16="http://schemas.microsoft.com/office/drawing/2014/main" id="{49DA9865-8A0C-4141-9F0C-77F51BBCC4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99088" y="1841501"/>
              <a:ext cx="63500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Line 83">
              <a:extLst>
                <a:ext uri="{FF2B5EF4-FFF2-40B4-BE49-F238E27FC236}">
                  <a16:creationId xmlns:a16="http://schemas.microsoft.com/office/drawing/2014/main" id="{B4131C2B-DC2F-4907-8B17-29E508C6A9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75275" y="1816101"/>
              <a:ext cx="87313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Oval 84">
              <a:extLst>
                <a:ext uri="{FF2B5EF4-FFF2-40B4-BE49-F238E27FC236}">
                  <a16:creationId xmlns:a16="http://schemas.microsoft.com/office/drawing/2014/main" id="{39C32900-64DF-45E0-A789-532932E85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8463" y="1924051"/>
              <a:ext cx="49213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Oval 85">
              <a:extLst>
                <a:ext uri="{FF2B5EF4-FFF2-40B4-BE49-F238E27FC236}">
                  <a16:creationId xmlns:a16="http://schemas.microsoft.com/office/drawing/2014/main" id="{041913B1-4B5D-41A1-9C4C-58861D6CB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6725" y="1924051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Oval 86">
              <a:extLst>
                <a:ext uri="{FF2B5EF4-FFF2-40B4-BE49-F238E27FC236}">
                  <a16:creationId xmlns:a16="http://schemas.microsoft.com/office/drawing/2014/main" id="{62FB1CE1-FC71-42A0-965C-42630ACF89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4988" y="1924051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Freeform 87">
              <a:extLst>
                <a:ext uri="{FF2B5EF4-FFF2-40B4-BE49-F238E27FC236}">
                  <a16:creationId xmlns:a16="http://schemas.microsoft.com/office/drawing/2014/main" id="{25B43FD5-A3C0-45F9-A74F-6E6689AAE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063" y="1778001"/>
              <a:ext cx="38100" cy="23813"/>
            </a:xfrm>
            <a:custGeom>
              <a:avLst/>
              <a:gdLst>
                <a:gd name="T0" fmla="*/ 0 w 24"/>
                <a:gd name="T1" fmla="*/ 15 h 15"/>
                <a:gd name="T2" fmla="*/ 0 w 24"/>
                <a:gd name="T3" fmla="*/ 0 h 15"/>
                <a:gd name="T4" fmla="*/ 24 w 24"/>
                <a:gd name="T5" fmla="*/ 15 h 15"/>
                <a:gd name="T6" fmla="*/ 0 w 24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5">
                  <a:moveTo>
                    <a:pt x="0" y="1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7"/>
                    <a:pt x="24" y="15"/>
                    <a:pt x="24" y="15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88">
              <a:extLst>
                <a:ext uri="{FF2B5EF4-FFF2-40B4-BE49-F238E27FC236}">
                  <a16:creationId xmlns:a16="http://schemas.microsoft.com/office/drawing/2014/main" id="{20192A6D-9224-470C-8AA5-46531EFCF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50" y="1778001"/>
              <a:ext cx="388938" cy="158750"/>
            </a:xfrm>
            <a:custGeom>
              <a:avLst/>
              <a:gdLst>
                <a:gd name="T0" fmla="*/ 148 w 245"/>
                <a:gd name="T1" fmla="*/ 100 h 100"/>
                <a:gd name="T2" fmla="*/ 245 w 245"/>
                <a:gd name="T3" fmla="*/ 100 h 100"/>
                <a:gd name="T4" fmla="*/ 245 w 245"/>
                <a:gd name="T5" fmla="*/ 0 h 100"/>
                <a:gd name="T6" fmla="*/ 0 w 245"/>
                <a:gd name="T7" fmla="*/ 0 h 100"/>
                <a:gd name="T8" fmla="*/ 0 w 245"/>
                <a:gd name="T9" fmla="*/ 100 h 100"/>
                <a:gd name="T10" fmla="*/ 32 w 245"/>
                <a:gd name="T1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100">
                  <a:moveTo>
                    <a:pt x="148" y="100"/>
                  </a:moveTo>
                  <a:lnTo>
                    <a:pt x="245" y="100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32" y="100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Line 89">
              <a:extLst>
                <a:ext uri="{FF2B5EF4-FFF2-40B4-BE49-F238E27FC236}">
                  <a16:creationId xmlns:a16="http://schemas.microsoft.com/office/drawing/2014/main" id="{D9EACA72-E10D-4286-A61D-B605668A15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4350" y="1936751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Line 90">
              <a:extLst>
                <a:ext uri="{FF2B5EF4-FFF2-40B4-BE49-F238E27FC236}">
                  <a16:creationId xmlns:a16="http://schemas.microsoft.com/office/drawing/2014/main" id="{24C63F4C-0E90-4D6F-9C99-9DD0960364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26088" y="1936751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Freeform 91">
              <a:extLst>
                <a:ext uri="{FF2B5EF4-FFF2-40B4-BE49-F238E27FC236}">
                  <a16:creationId xmlns:a16="http://schemas.microsoft.com/office/drawing/2014/main" id="{DA72CCD2-040E-4789-8ED4-9C9CE18F9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238" y="1816101"/>
              <a:ext cx="104775" cy="112713"/>
            </a:xfrm>
            <a:custGeom>
              <a:avLst/>
              <a:gdLst>
                <a:gd name="T0" fmla="*/ 47 w 66"/>
                <a:gd name="T1" fmla="*/ 71 h 71"/>
                <a:gd name="T2" fmla="*/ 66 w 66"/>
                <a:gd name="T3" fmla="*/ 71 h 71"/>
                <a:gd name="T4" fmla="*/ 66 w 66"/>
                <a:gd name="T5" fmla="*/ 41 h 71"/>
                <a:gd name="T6" fmla="*/ 66 w 66"/>
                <a:gd name="T7" fmla="*/ 33 h 71"/>
                <a:gd name="T8" fmla="*/ 51 w 66"/>
                <a:gd name="T9" fmla="*/ 0 h 71"/>
                <a:gd name="T10" fmla="*/ 0 w 66"/>
                <a:gd name="T11" fmla="*/ 0 h 71"/>
                <a:gd name="T12" fmla="*/ 0 w 66"/>
                <a:gd name="T13" fmla="*/ 71 h 71"/>
                <a:gd name="T14" fmla="*/ 18 w 66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71">
                  <a:moveTo>
                    <a:pt x="47" y="71"/>
                  </a:moveTo>
                  <a:lnTo>
                    <a:pt x="66" y="71"/>
                  </a:lnTo>
                  <a:lnTo>
                    <a:pt x="66" y="41"/>
                  </a:lnTo>
                  <a:lnTo>
                    <a:pt x="66" y="33"/>
                  </a:lnTo>
                  <a:lnTo>
                    <a:pt x="51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Oval 92">
              <a:extLst>
                <a:ext uri="{FF2B5EF4-FFF2-40B4-BE49-F238E27FC236}">
                  <a16:creationId xmlns:a16="http://schemas.microsoft.com/office/drawing/2014/main" id="{A6D497DE-A891-487E-A33F-F4250E331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1050" y="1916113"/>
              <a:ext cx="53975" cy="53975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FBD02E07-8597-46F5-8474-3E73353878CA}"/>
              </a:ext>
            </a:extLst>
          </p:cNvPr>
          <p:cNvSpPr txBox="1"/>
          <p:nvPr/>
        </p:nvSpPr>
        <p:spPr>
          <a:xfrm>
            <a:off x="243198" y="297758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anufactur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6908B1-2D1B-4E63-BAA3-1A6C9243C09F}"/>
              </a:ext>
            </a:extLst>
          </p:cNvPr>
          <p:cNvSpPr txBox="1"/>
          <p:nvPr/>
        </p:nvSpPr>
        <p:spPr>
          <a:xfrm>
            <a:off x="1217476" y="297758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2304865-7642-4AC9-8908-0C0EBBDEBD48}"/>
              </a:ext>
            </a:extLst>
          </p:cNvPr>
          <p:cNvSpPr txBox="1"/>
          <p:nvPr/>
        </p:nvSpPr>
        <p:spPr>
          <a:xfrm>
            <a:off x="10971122" y="2959617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consigne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C6ADE58-83C0-4B3E-A5C6-68855269A2AD}"/>
              </a:ext>
            </a:extLst>
          </p:cNvPr>
          <p:cNvGrpSpPr/>
          <p:nvPr/>
        </p:nvGrpSpPr>
        <p:grpSpPr>
          <a:xfrm>
            <a:off x="359962" y="2165516"/>
            <a:ext cx="703263" cy="703263"/>
            <a:chOff x="431070" y="1342382"/>
            <a:chExt cx="703263" cy="703263"/>
          </a:xfrm>
        </p:grpSpPr>
        <p:sp>
          <p:nvSpPr>
            <p:cNvPr id="24" name="Oval 12">
              <a:extLst>
                <a:ext uri="{FF2B5EF4-FFF2-40B4-BE49-F238E27FC236}">
                  <a16:creationId xmlns:a16="http://schemas.microsoft.com/office/drawing/2014/main" id="{15E73F95-BDC0-4990-9AC7-3164308F8B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70" y="1342382"/>
              <a:ext cx="703263" cy="7032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F1A90E2-F0A3-4051-9EBB-582F9021DD76}"/>
                </a:ext>
              </a:extLst>
            </p:cNvPr>
            <p:cNvGrpSpPr/>
            <p:nvPr/>
          </p:nvGrpSpPr>
          <p:grpSpPr>
            <a:xfrm>
              <a:off x="625142" y="1423630"/>
              <a:ext cx="307975" cy="454025"/>
              <a:chOff x="3732213" y="1597026"/>
              <a:chExt cx="307975" cy="454025"/>
            </a:xfrm>
          </p:grpSpPr>
          <p:sp>
            <p:nvSpPr>
              <p:cNvPr id="26" name="Freeform 45">
                <a:extLst>
                  <a:ext uri="{FF2B5EF4-FFF2-40B4-BE49-F238E27FC236}">
                    <a16:creationId xmlns:a16="http://schemas.microsoft.com/office/drawing/2014/main" id="{18F34AE7-5FB0-4393-A4B5-C0EDAC7D6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2213" y="1663701"/>
                <a:ext cx="307975" cy="387350"/>
              </a:xfrm>
              <a:custGeom>
                <a:avLst/>
                <a:gdLst>
                  <a:gd name="T0" fmla="*/ 168 w 194"/>
                  <a:gd name="T1" fmla="*/ 116 h 244"/>
                  <a:gd name="T2" fmla="*/ 159 w 194"/>
                  <a:gd name="T3" fmla="*/ 0 h 244"/>
                  <a:gd name="T4" fmla="*/ 138 w 194"/>
                  <a:gd name="T5" fmla="*/ 0 h 244"/>
                  <a:gd name="T6" fmla="*/ 128 w 194"/>
                  <a:gd name="T7" fmla="*/ 116 h 244"/>
                  <a:gd name="T8" fmla="*/ 0 w 194"/>
                  <a:gd name="T9" fmla="*/ 116 h 244"/>
                  <a:gd name="T10" fmla="*/ 0 w 194"/>
                  <a:gd name="T11" fmla="*/ 244 h 244"/>
                  <a:gd name="T12" fmla="*/ 194 w 194"/>
                  <a:gd name="T13" fmla="*/ 244 h 244"/>
                  <a:gd name="T14" fmla="*/ 194 w 194"/>
                  <a:gd name="T15" fmla="*/ 116 h 244"/>
                  <a:gd name="T16" fmla="*/ 168 w 194"/>
                  <a:gd name="T17" fmla="*/ 116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244">
                    <a:moveTo>
                      <a:pt x="168" y="116"/>
                    </a:moveTo>
                    <a:lnTo>
                      <a:pt x="159" y="0"/>
                    </a:lnTo>
                    <a:lnTo>
                      <a:pt x="138" y="0"/>
                    </a:lnTo>
                    <a:lnTo>
                      <a:pt x="128" y="116"/>
                    </a:lnTo>
                    <a:lnTo>
                      <a:pt x="0" y="116"/>
                    </a:lnTo>
                    <a:lnTo>
                      <a:pt x="0" y="244"/>
                    </a:lnTo>
                    <a:lnTo>
                      <a:pt x="194" y="244"/>
                    </a:lnTo>
                    <a:lnTo>
                      <a:pt x="194" y="116"/>
                    </a:lnTo>
                    <a:lnTo>
                      <a:pt x="168" y="116"/>
                    </a:ln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 46">
                <a:extLst>
                  <a:ext uri="{FF2B5EF4-FFF2-40B4-BE49-F238E27FC236}">
                    <a16:creationId xmlns:a16="http://schemas.microsoft.com/office/drawing/2014/main" id="{BE4EB9B6-E1C3-4117-B243-90F76EE7E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400" y="1612901"/>
                <a:ext cx="130175" cy="46038"/>
              </a:xfrm>
              <a:custGeom>
                <a:avLst/>
                <a:gdLst>
                  <a:gd name="T0" fmla="*/ 20 w 82"/>
                  <a:gd name="T1" fmla="*/ 20 h 28"/>
                  <a:gd name="T2" fmla="*/ 13 w 82"/>
                  <a:gd name="T3" fmla="*/ 19 h 28"/>
                  <a:gd name="T4" fmla="*/ 0 w 82"/>
                  <a:gd name="T5" fmla="*/ 14 h 28"/>
                  <a:gd name="T6" fmla="*/ 3 w 82"/>
                  <a:gd name="T7" fmla="*/ 17 h 28"/>
                  <a:gd name="T8" fmla="*/ 11 w 82"/>
                  <a:gd name="T9" fmla="*/ 24 h 28"/>
                  <a:gd name="T10" fmla="*/ 19 w 82"/>
                  <a:gd name="T11" fmla="*/ 27 h 28"/>
                  <a:gd name="T12" fmla="*/ 28 w 82"/>
                  <a:gd name="T13" fmla="*/ 27 h 28"/>
                  <a:gd name="T14" fmla="*/ 45 w 82"/>
                  <a:gd name="T15" fmla="*/ 18 h 28"/>
                  <a:gd name="T16" fmla="*/ 51 w 82"/>
                  <a:gd name="T17" fmla="*/ 12 h 28"/>
                  <a:gd name="T18" fmla="*/ 57 w 82"/>
                  <a:gd name="T19" fmla="*/ 9 h 28"/>
                  <a:gd name="T20" fmla="*/ 69 w 82"/>
                  <a:gd name="T21" fmla="*/ 8 h 28"/>
                  <a:gd name="T22" fmla="*/ 78 w 82"/>
                  <a:gd name="T23" fmla="*/ 12 h 28"/>
                  <a:gd name="T24" fmla="*/ 82 w 82"/>
                  <a:gd name="T25" fmla="*/ 14 h 28"/>
                  <a:gd name="T26" fmla="*/ 80 w 82"/>
                  <a:gd name="T27" fmla="*/ 11 h 28"/>
                  <a:gd name="T28" fmla="*/ 71 w 82"/>
                  <a:gd name="T29" fmla="*/ 3 h 28"/>
                  <a:gd name="T30" fmla="*/ 63 w 82"/>
                  <a:gd name="T31" fmla="*/ 1 h 28"/>
                  <a:gd name="T32" fmla="*/ 54 w 82"/>
                  <a:gd name="T33" fmla="*/ 1 h 28"/>
                  <a:gd name="T34" fmla="*/ 49 w 82"/>
                  <a:gd name="T35" fmla="*/ 3 h 28"/>
                  <a:gd name="T36" fmla="*/ 45 w 82"/>
                  <a:gd name="T37" fmla="*/ 6 h 28"/>
                  <a:gd name="T38" fmla="*/ 38 w 82"/>
                  <a:gd name="T39" fmla="*/ 12 h 28"/>
                  <a:gd name="T40" fmla="*/ 26 w 82"/>
                  <a:gd name="T41" fmla="*/ 19 h 28"/>
                  <a:gd name="T42" fmla="*/ 20 w 82"/>
                  <a:gd name="T43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2" h="28">
                    <a:moveTo>
                      <a:pt x="20" y="20"/>
                    </a:moveTo>
                    <a:cubicBezTo>
                      <a:pt x="18" y="20"/>
                      <a:pt x="15" y="19"/>
                      <a:pt x="13" y="19"/>
                    </a:cubicBezTo>
                    <a:cubicBezTo>
                      <a:pt x="5" y="17"/>
                      <a:pt x="0" y="14"/>
                      <a:pt x="0" y="14"/>
                    </a:cubicBezTo>
                    <a:cubicBezTo>
                      <a:pt x="0" y="14"/>
                      <a:pt x="1" y="15"/>
                      <a:pt x="3" y="17"/>
                    </a:cubicBezTo>
                    <a:cubicBezTo>
                      <a:pt x="4" y="19"/>
                      <a:pt x="7" y="22"/>
                      <a:pt x="11" y="24"/>
                    </a:cubicBezTo>
                    <a:cubicBezTo>
                      <a:pt x="13" y="25"/>
                      <a:pt x="16" y="26"/>
                      <a:pt x="19" y="27"/>
                    </a:cubicBezTo>
                    <a:cubicBezTo>
                      <a:pt x="21" y="27"/>
                      <a:pt x="24" y="28"/>
                      <a:pt x="28" y="27"/>
                    </a:cubicBezTo>
                    <a:cubicBezTo>
                      <a:pt x="34" y="27"/>
                      <a:pt x="41" y="23"/>
                      <a:pt x="45" y="18"/>
                    </a:cubicBezTo>
                    <a:cubicBezTo>
                      <a:pt x="47" y="17"/>
                      <a:pt x="49" y="14"/>
                      <a:pt x="51" y="12"/>
                    </a:cubicBezTo>
                    <a:cubicBezTo>
                      <a:pt x="52" y="11"/>
                      <a:pt x="54" y="10"/>
                      <a:pt x="57" y="9"/>
                    </a:cubicBezTo>
                    <a:cubicBezTo>
                      <a:pt x="61" y="7"/>
                      <a:pt x="65" y="7"/>
                      <a:pt x="69" y="8"/>
                    </a:cubicBezTo>
                    <a:cubicBezTo>
                      <a:pt x="73" y="9"/>
                      <a:pt x="76" y="11"/>
                      <a:pt x="78" y="12"/>
                    </a:cubicBezTo>
                    <a:cubicBezTo>
                      <a:pt x="81" y="13"/>
                      <a:pt x="82" y="14"/>
                      <a:pt x="82" y="14"/>
                    </a:cubicBezTo>
                    <a:cubicBezTo>
                      <a:pt x="82" y="14"/>
                      <a:pt x="81" y="13"/>
                      <a:pt x="80" y="11"/>
                    </a:cubicBezTo>
                    <a:cubicBezTo>
                      <a:pt x="78" y="9"/>
                      <a:pt x="75" y="6"/>
                      <a:pt x="71" y="3"/>
                    </a:cubicBezTo>
                    <a:cubicBezTo>
                      <a:pt x="69" y="2"/>
                      <a:pt x="66" y="1"/>
                      <a:pt x="63" y="1"/>
                    </a:cubicBezTo>
                    <a:cubicBezTo>
                      <a:pt x="61" y="0"/>
                      <a:pt x="57" y="0"/>
                      <a:pt x="54" y="1"/>
                    </a:cubicBezTo>
                    <a:cubicBezTo>
                      <a:pt x="52" y="2"/>
                      <a:pt x="51" y="2"/>
                      <a:pt x="49" y="3"/>
                    </a:cubicBezTo>
                    <a:cubicBezTo>
                      <a:pt x="48" y="4"/>
                      <a:pt x="46" y="5"/>
                      <a:pt x="45" y="6"/>
                    </a:cubicBezTo>
                    <a:cubicBezTo>
                      <a:pt x="42" y="8"/>
                      <a:pt x="41" y="10"/>
                      <a:pt x="38" y="12"/>
                    </a:cubicBezTo>
                    <a:cubicBezTo>
                      <a:pt x="35" y="16"/>
                      <a:pt x="31" y="18"/>
                      <a:pt x="26" y="19"/>
                    </a:cubicBezTo>
                    <a:cubicBezTo>
                      <a:pt x="24" y="20"/>
                      <a:pt x="22" y="20"/>
                      <a:pt x="20" y="20"/>
                    </a:cubicBez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 47">
                <a:extLst>
                  <a:ext uri="{FF2B5EF4-FFF2-40B4-BE49-F238E27FC236}">
                    <a16:creationId xmlns:a16="http://schemas.microsoft.com/office/drawing/2014/main" id="{613A2AB0-D626-470B-8248-9F0F3FCEE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1597026"/>
                <a:ext cx="131763" cy="46038"/>
              </a:xfrm>
              <a:custGeom>
                <a:avLst/>
                <a:gdLst>
                  <a:gd name="T0" fmla="*/ 12 w 83"/>
                  <a:gd name="T1" fmla="*/ 24 h 28"/>
                  <a:gd name="T2" fmla="*/ 19 w 83"/>
                  <a:gd name="T3" fmla="*/ 27 h 28"/>
                  <a:gd name="T4" fmla="*/ 28 w 83"/>
                  <a:gd name="T5" fmla="*/ 28 h 28"/>
                  <a:gd name="T6" fmla="*/ 46 w 83"/>
                  <a:gd name="T7" fmla="*/ 18 h 28"/>
                  <a:gd name="T8" fmla="*/ 51 w 83"/>
                  <a:gd name="T9" fmla="*/ 13 h 28"/>
                  <a:gd name="T10" fmla="*/ 57 w 83"/>
                  <a:gd name="T11" fmla="*/ 9 h 28"/>
                  <a:gd name="T12" fmla="*/ 70 w 83"/>
                  <a:gd name="T13" fmla="*/ 9 h 28"/>
                  <a:gd name="T14" fmla="*/ 79 w 83"/>
                  <a:gd name="T15" fmla="*/ 12 h 28"/>
                  <a:gd name="T16" fmla="*/ 83 w 83"/>
                  <a:gd name="T17" fmla="*/ 14 h 28"/>
                  <a:gd name="T18" fmla="*/ 80 w 83"/>
                  <a:gd name="T19" fmla="*/ 11 h 28"/>
                  <a:gd name="T20" fmla="*/ 71 w 83"/>
                  <a:gd name="T21" fmla="*/ 4 h 28"/>
                  <a:gd name="T22" fmla="*/ 64 w 83"/>
                  <a:gd name="T23" fmla="*/ 1 h 28"/>
                  <a:gd name="T24" fmla="*/ 55 w 83"/>
                  <a:gd name="T25" fmla="*/ 1 h 28"/>
                  <a:gd name="T26" fmla="*/ 50 w 83"/>
                  <a:gd name="T27" fmla="*/ 3 h 28"/>
                  <a:gd name="T28" fmla="*/ 46 w 83"/>
                  <a:gd name="T29" fmla="*/ 6 h 28"/>
                  <a:gd name="T30" fmla="*/ 39 w 83"/>
                  <a:gd name="T31" fmla="*/ 12 h 28"/>
                  <a:gd name="T32" fmla="*/ 27 w 83"/>
                  <a:gd name="T33" fmla="*/ 20 h 28"/>
                  <a:gd name="T34" fmla="*/ 20 w 83"/>
                  <a:gd name="T35" fmla="*/ 20 h 28"/>
                  <a:gd name="T36" fmla="*/ 14 w 83"/>
                  <a:gd name="T37" fmla="*/ 19 h 28"/>
                  <a:gd name="T38" fmla="*/ 0 w 83"/>
                  <a:gd name="T39" fmla="*/ 14 h 28"/>
                  <a:gd name="T40" fmla="*/ 3 w 83"/>
                  <a:gd name="T41" fmla="*/ 17 h 28"/>
                  <a:gd name="T42" fmla="*/ 12 w 83"/>
                  <a:gd name="T43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3" h="28">
                    <a:moveTo>
                      <a:pt x="12" y="24"/>
                    </a:moveTo>
                    <a:cubicBezTo>
                      <a:pt x="14" y="25"/>
                      <a:pt x="16" y="26"/>
                      <a:pt x="19" y="27"/>
                    </a:cubicBezTo>
                    <a:cubicBezTo>
                      <a:pt x="22" y="28"/>
                      <a:pt x="25" y="28"/>
                      <a:pt x="28" y="28"/>
                    </a:cubicBezTo>
                    <a:cubicBezTo>
                      <a:pt x="35" y="27"/>
                      <a:pt x="41" y="23"/>
                      <a:pt x="46" y="18"/>
                    </a:cubicBezTo>
                    <a:cubicBezTo>
                      <a:pt x="47" y="17"/>
                      <a:pt x="50" y="14"/>
                      <a:pt x="51" y="13"/>
                    </a:cubicBezTo>
                    <a:cubicBezTo>
                      <a:pt x="53" y="11"/>
                      <a:pt x="55" y="10"/>
                      <a:pt x="57" y="9"/>
                    </a:cubicBezTo>
                    <a:cubicBezTo>
                      <a:pt x="61" y="7"/>
                      <a:pt x="66" y="8"/>
                      <a:pt x="70" y="9"/>
                    </a:cubicBezTo>
                    <a:cubicBezTo>
                      <a:pt x="73" y="10"/>
                      <a:pt x="77" y="11"/>
                      <a:pt x="79" y="12"/>
                    </a:cubicBezTo>
                    <a:cubicBezTo>
                      <a:pt x="81" y="13"/>
                      <a:pt x="83" y="14"/>
                      <a:pt x="83" y="14"/>
                    </a:cubicBezTo>
                    <a:cubicBezTo>
                      <a:pt x="83" y="14"/>
                      <a:pt x="82" y="13"/>
                      <a:pt x="80" y="11"/>
                    </a:cubicBezTo>
                    <a:cubicBezTo>
                      <a:pt x="78" y="9"/>
                      <a:pt x="76" y="6"/>
                      <a:pt x="71" y="4"/>
                    </a:cubicBezTo>
                    <a:cubicBezTo>
                      <a:pt x="69" y="2"/>
                      <a:pt x="67" y="1"/>
                      <a:pt x="64" y="1"/>
                    </a:cubicBezTo>
                    <a:cubicBezTo>
                      <a:pt x="61" y="1"/>
                      <a:pt x="58" y="0"/>
                      <a:pt x="55" y="1"/>
                    </a:cubicBezTo>
                    <a:cubicBezTo>
                      <a:pt x="53" y="2"/>
                      <a:pt x="51" y="2"/>
                      <a:pt x="50" y="3"/>
                    </a:cubicBezTo>
                    <a:cubicBezTo>
                      <a:pt x="48" y="4"/>
                      <a:pt x="47" y="5"/>
                      <a:pt x="46" y="6"/>
                    </a:cubicBezTo>
                    <a:cubicBezTo>
                      <a:pt x="42" y="8"/>
                      <a:pt x="41" y="10"/>
                      <a:pt x="39" y="12"/>
                    </a:cubicBezTo>
                    <a:cubicBezTo>
                      <a:pt x="36" y="16"/>
                      <a:pt x="31" y="19"/>
                      <a:pt x="27" y="20"/>
                    </a:cubicBezTo>
                    <a:cubicBezTo>
                      <a:pt x="25" y="20"/>
                      <a:pt x="23" y="20"/>
                      <a:pt x="20" y="20"/>
                    </a:cubicBezTo>
                    <a:cubicBezTo>
                      <a:pt x="18" y="20"/>
                      <a:pt x="16" y="20"/>
                      <a:pt x="14" y="19"/>
                    </a:cubicBezTo>
                    <a:cubicBezTo>
                      <a:pt x="6" y="17"/>
                      <a:pt x="0" y="14"/>
                      <a:pt x="0" y="14"/>
                    </a:cubicBezTo>
                    <a:cubicBezTo>
                      <a:pt x="0" y="14"/>
                      <a:pt x="1" y="15"/>
                      <a:pt x="3" y="17"/>
                    </a:cubicBezTo>
                    <a:cubicBezTo>
                      <a:pt x="5" y="19"/>
                      <a:pt x="8" y="22"/>
                      <a:pt x="12" y="24"/>
                    </a:cubicBez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Rectangle 48">
                <a:extLst>
                  <a:ext uri="{FF2B5EF4-FFF2-40B4-BE49-F238E27FC236}">
                    <a16:creationId xmlns:a16="http://schemas.microsoft.com/office/drawing/2014/main" id="{27D72C9B-DFC4-4469-9D31-25F8781C23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7138" y="1892301"/>
                <a:ext cx="57150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Rectangle 49">
                <a:extLst>
                  <a:ext uri="{FF2B5EF4-FFF2-40B4-BE49-F238E27FC236}">
                    <a16:creationId xmlns:a16="http://schemas.microsoft.com/office/drawing/2014/main" id="{89A4F7A7-9F55-44B7-90CB-8D1DAA1188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6038" y="1892301"/>
                <a:ext cx="55563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Rectangle 50">
                <a:extLst>
                  <a:ext uri="{FF2B5EF4-FFF2-40B4-BE49-F238E27FC236}">
                    <a16:creationId xmlns:a16="http://schemas.microsoft.com/office/drawing/2014/main" id="{4F7F8A9D-1A7B-4C05-93AF-3CF02A6965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938" y="1892301"/>
                <a:ext cx="57150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F0A94B5-683C-47BC-877B-C807E79A504E}"/>
              </a:ext>
            </a:extLst>
          </p:cNvPr>
          <p:cNvGrpSpPr/>
          <p:nvPr/>
        </p:nvGrpSpPr>
        <p:grpSpPr>
          <a:xfrm>
            <a:off x="3396620" y="2165516"/>
            <a:ext cx="703263" cy="703263"/>
            <a:chOff x="8885238" y="15208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33" name="Oval 14">
              <a:extLst>
                <a:ext uri="{FF2B5EF4-FFF2-40B4-BE49-F238E27FC236}">
                  <a16:creationId xmlns:a16="http://schemas.microsoft.com/office/drawing/2014/main" id="{0657658C-3D88-417A-A582-520CCE407C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5238" y="15208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4" name="Line 51">
              <a:extLst>
                <a:ext uri="{FF2B5EF4-FFF2-40B4-BE49-F238E27FC236}">
                  <a16:creationId xmlns:a16="http://schemas.microsoft.com/office/drawing/2014/main" id="{5862FA01-49C8-48D8-80CD-A61956981F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48763" y="1997076"/>
              <a:ext cx="7620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Line 52">
              <a:extLst>
                <a:ext uri="{FF2B5EF4-FFF2-40B4-BE49-F238E27FC236}">
                  <a16:creationId xmlns:a16="http://schemas.microsoft.com/office/drawing/2014/main" id="{2F7BD248-0EE3-4A8E-B7FE-DA4DB99BE1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1000" y="19970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id="{D19224D2-823D-475A-9FED-93916B359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0650" y="16827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3 h 198"/>
                <a:gd name="T6" fmla="*/ 30 w 221"/>
                <a:gd name="T7" fmla="*/ 103 h 198"/>
                <a:gd name="T8" fmla="*/ 31 w 221"/>
                <a:gd name="T9" fmla="*/ 0 h 198"/>
                <a:gd name="T10" fmla="*/ 129 w 221"/>
                <a:gd name="T11" fmla="*/ 0 h 198"/>
                <a:gd name="T12" fmla="*/ 177 w 221"/>
                <a:gd name="T13" fmla="*/ 136 h 198"/>
                <a:gd name="T14" fmla="*/ 202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3"/>
                  </a:lnTo>
                  <a:lnTo>
                    <a:pt x="30" y="103"/>
                  </a:lnTo>
                  <a:lnTo>
                    <a:pt x="31" y="0"/>
                  </a:lnTo>
                  <a:lnTo>
                    <a:pt x="129" y="0"/>
                  </a:lnTo>
                  <a:lnTo>
                    <a:pt x="177" y="136"/>
                  </a:lnTo>
                  <a:lnTo>
                    <a:pt x="202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293D8E87-8231-4166-8D93-D210D7293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0025" y="1714501"/>
              <a:ext cx="168275" cy="184150"/>
            </a:xfrm>
            <a:custGeom>
              <a:avLst/>
              <a:gdLst>
                <a:gd name="T0" fmla="*/ 0 w 106"/>
                <a:gd name="T1" fmla="*/ 0 h 116"/>
                <a:gd name="T2" fmla="*/ 65 w 106"/>
                <a:gd name="T3" fmla="*/ 0 h 116"/>
                <a:gd name="T4" fmla="*/ 106 w 106"/>
                <a:gd name="T5" fmla="*/ 116 h 116"/>
                <a:gd name="T6" fmla="*/ 62 w 106"/>
                <a:gd name="T7" fmla="*/ 116 h 116"/>
                <a:gd name="T8" fmla="*/ 42 w 106"/>
                <a:gd name="T9" fmla="*/ 81 h 116"/>
                <a:gd name="T10" fmla="*/ 0 w 106"/>
                <a:gd name="T11" fmla="*/ 81 h 116"/>
                <a:gd name="T12" fmla="*/ 0 w 106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16">
                  <a:moveTo>
                    <a:pt x="0" y="0"/>
                  </a:moveTo>
                  <a:lnTo>
                    <a:pt x="65" y="0"/>
                  </a:lnTo>
                  <a:lnTo>
                    <a:pt x="106" y="116"/>
                  </a:lnTo>
                  <a:lnTo>
                    <a:pt x="62" y="116"/>
                  </a:lnTo>
                  <a:lnTo>
                    <a:pt x="42" y="81"/>
                  </a:lnTo>
                  <a:lnTo>
                    <a:pt x="0" y="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8DD3DE4D-9B93-44C5-BBDB-05E0A1A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2113" y="1697038"/>
              <a:ext cx="230188" cy="296863"/>
            </a:xfrm>
            <a:custGeom>
              <a:avLst/>
              <a:gdLst>
                <a:gd name="T0" fmla="*/ 0 w 145"/>
                <a:gd name="T1" fmla="*/ 0 h 187"/>
                <a:gd name="T2" fmla="*/ 63 w 145"/>
                <a:gd name="T3" fmla="*/ 187 h 187"/>
                <a:gd name="T4" fmla="*/ 145 w 145"/>
                <a:gd name="T5" fmla="*/ 1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5" h="187">
                  <a:moveTo>
                    <a:pt x="0" y="0"/>
                  </a:moveTo>
                  <a:lnTo>
                    <a:pt x="63" y="187"/>
                  </a:lnTo>
                  <a:lnTo>
                    <a:pt x="145" y="162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Oval 56">
              <a:extLst>
                <a:ext uri="{FF2B5EF4-FFF2-40B4-BE49-F238E27FC236}">
                  <a16:creationId xmlns:a16="http://schemas.microsoft.com/office/drawing/2014/main" id="{80A21E69-0184-4944-AB8F-C6B90D590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5738" y="1970088"/>
              <a:ext cx="69850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Oval 57">
              <a:extLst>
                <a:ext uri="{FF2B5EF4-FFF2-40B4-BE49-F238E27FC236}">
                  <a16:creationId xmlns:a16="http://schemas.microsoft.com/office/drawing/2014/main" id="{45BE0E10-2203-4041-BA86-FF56EA58C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6550" y="19700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2EE963A9-1CA4-42C8-B5D8-56971CC57178}"/>
              </a:ext>
            </a:extLst>
          </p:cNvPr>
          <p:cNvSpPr txBox="1"/>
          <p:nvPr/>
        </p:nvSpPr>
        <p:spPr>
          <a:xfrm>
            <a:off x="3283954" y="2945719"/>
            <a:ext cx="933848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6E6482B-4BFC-4472-BAE8-022B25942A7E}"/>
              </a:ext>
            </a:extLst>
          </p:cNvPr>
          <p:cNvGrpSpPr/>
          <p:nvPr/>
        </p:nvGrpSpPr>
        <p:grpSpPr>
          <a:xfrm>
            <a:off x="2348699" y="2165516"/>
            <a:ext cx="703263" cy="703263"/>
            <a:chOff x="7100888" y="15081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43" name="Oval 10">
              <a:extLst>
                <a:ext uri="{FF2B5EF4-FFF2-40B4-BE49-F238E27FC236}">
                  <a16:creationId xmlns:a16="http://schemas.microsoft.com/office/drawing/2014/main" id="{BFA6D26B-9508-41C2-8E6A-FABB16B869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0888" y="15081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4" name="Freeform 103">
              <a:extLst>
                <a:ext uri="{FF2B5EF4-FFF2-40B4-BE49-F238E27FC236}">
                  <a16:creationId xmlns:a16="http://schemas.microsoft.com/office/drawing/2014/main" id="{9CEFBBFC-8EB2-4629-AA8D-883C43C16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1647826"/>
              <a:ext cx="379413" cy="381000"/>
            </a:xfrm>
            <a:custGeom>
              <a:avLst/>
              <a:gdLst>
                <a:gd name="T0" fmla="*/ 239 w 239"/>
                <a:gd name="T1" fmla="*/ 240 h 240"/>
                <a:gd name="T2" fmla="*/ 239 w 239"/>
                <a:gd name="T3" fmla="*/ 56 h 240"/>
                <a:gd name="T4" fmla="*/ 116 w 239"/>
                <a:gd name="T5" fmla="*/ 0 h 240"/>
                <a:gd name="T6" fmla="*/ 0 w 239"/>
                <a:gd name="T7" fmla="*/ 56 h 240"/>
                <a:gd name="T8" fmla="*/ 0 w 239"/>
                <a:gd name="T9" fmla="*/ 240 h 240"/>
                <a:gd name="T10" fmla="*/ 239 w 239"/>
                <a:gd name="T11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240">
                  <a:moveTo>
                    <a:pt x="239" y="240"/>
                  </a:moveTo>
                  <a:lnTo>
                    <a:pt x="239" y="56"/>
                  </a:lnTo>
                  <a:lnTo>
                    <a:pt x="116" y="0"/>
                  </a:lnTo>
                  <a:lnTo>
                    <a:pt x="0" y="56"/>
                  </a:lnTo>
                  <a:lnTo>
                    <a:pt x="0" y="240"/>
                  </a:lnTo>
                  <a:lnTo>
                    <a:pt x="239" y="240"/>
                  </a:lnTo>
                  <a:close/>
                </a:path>
              </a:pathLst>
            </a:cu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Rectangle 104">
              <a:extLst>
                <a:ext uri="{FF2B5EF4-FFF2-40B4-BE49-F238E27FC236}">
                  <a16:creationId xmlns:a16="http://schemas.microsoft.com/office/drawing/2014/main" id="{7723F43E-1FCF-47B5-A9B3-0A0C9D628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6" name="Rectangle 105">
              <a:extLst>
                <a:ext uri="{FF2B5EF4-FFF2-40B4-BE49-F238E27FC236}">
                  <a16:creationId xmlns:a16="http://schemas.microsoft.com/office/drawing/2014/main" id="{7F2C89B9-428E-4954-8E97-D6FEC4E07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1955801"/>
              <a:ext cx="61913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7" name="Rectangle 106">
              <a:extLst>
                <a:ext uri="{FF2B5EF4-FFF2-40B4-BE49-F238E27FC236}">
                  <a16:creationId xmlns:a16="http://schemas.microsoft.com/office/drawing/2014/main" id="{293E0ECF-CE7D-4745-A801-72F337E623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Rectangle 107">
              <a:extLst>
                <a:ext uri="{FF2B5EF4-FFF2-40B4-BE49-F238E27FC236}">
                  <a16:creationId xmlns:a16="http://schemas.microsoft.com/office/drawing/2014/main" id="{E35B420E-EB5C-4F7E-ABEA-E3D02271C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871663"/>
              <a:ext cx="60325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Rectangle 108">
              <a:extLst>
                <a:ext uri="{FF2B5EF4-FFF2-40B4-BE49-F238E27FC236}">
                  <a16:creationId xmlns:a16="http://schemas.microsoft.com/office/drawing/2014/main" id="{09CE5C62-6730-486F-B31F-D82E03746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871663"/>
              <a:ext cx="60325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0" name="Rectangle 109">
              <a:extLst>
                <a:ext uri="{FF2B5EF4-FFF2-40B4-BE49-F238E27FC236}">
                  <a16:creationId xmlns:a16="http://schemas.microsoft.com/office/drawing/2014/main" id="{C301A1C6-73DC-4B94-BBDE-C50DBC860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1871663"/>
              <a:ext cx="61913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Rectangle 110">
              <a:extLst>
                <a:ext uri="{FF2B5EF4-FFF2-40B4-BE49-F238E27FC236}">
                  <a16:creationId xmlns:a16="http://schemas.microsoft.com/office/drawing/2014/main" id="{CC890590-0694-4CA3-A52D-0BDCB11F7E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7907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111">
              <a:extLst>
                <a:ext uri="{FF2B5EF4-FFF2-40B4-BE49-F238E27FC236}">
                  <a16:creationId xmlns:a16="http://schemas.microsoft.com/office/drawing/2014/main" id="{B4A6655B-EABA-4833-94BB-C87B6F320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7907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112">
              <a:extLst>
                <a:ext uri="{FF2B5EF4-FFF2-40B4-BE49-F238E27FC236}">
                  <a16:creationId xmlns:a16="http://schemas.microsoft.com/office/drawing/2014/main" id="{66E16A20-247F-4ED4-85D7-B9902F062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2213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0A10B45F-F09C-4AC5-BEF6-3F8C5E18BAB4}"/>
              </a:ext>
            </a:extLst>
          </p:cNvPr>
          <p:cNvSpPr txBox="1"/>
          <p:nvPr/>
        </p:nvSpPr>
        <p:spPr>
          <a:xfrm>
            <a:off x="2238557" y="2961577"/>
            <a:ext cx="934054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reight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orwarder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41A756B-0629-4FB2-8FE8-E31EEDAB8D5F}"/>
              </a:ext>
            </a:extLst>
          </p:cNvPr>
          <p:cNvGrpSpPr/>
          <p:nvPr/>
        </p:nvGrpSpPr>
        <p:grpSpPr>
          <a:xfrm>
            <a:off x="6282287" y="2165516"/>
            <a:ext cx="701675" cy="703263"/>
            <a:chOff x="10671175" y="1514476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56" name="Oval 16">
              <a:extLst>
                <a:ext uri="{FF2B5EF4-FFF2-40B4-BE49-F238E27FC236}">
                  <a16:creationId xmlns:a16="http://schemas.microsoft.com/office/drawing/2014/main" id="{ABC8F694-A987-4F46-A54F-642BEA17D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1175" y="1514476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72">
              <a:extLst>
                <a:ext uri="{FF2B5EF4-FFF2-40B4-BE49-F238E27FC236}">
                  <a16:creationId xmlns:a16="http://schemas.microsoft.com/office/drawing/2014/main" id="{E9A45749-3CD2-424A-AB87-C388C5265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8813" y="1690688"/>
              <a:ext cx="404813" cy="342900"/>
            </a:xfrm>
            <a:custGeom>
              <a:avLst/>
              <a:gdLst>
                <a:gd name="T0" fmla="*/ 248 w 254"/>
                <a:gd name="T1" fmla="*/ 13 h 215"/>
                <a:gd name="T2" fmla="*/ 224 w 254"/>
                <a:gd name="T3" fmla="*/ 2 h 215"/>
                <a:gd name="T4" fmla="*/ 196 w 254"/>
                <a:gd name="T5" fmla="*/ 12 h 215"/>
                <a:gd name="T6" fmla="*/ 155 w 254"/>
                <a:gd name="T7" fmla="*/ 43 h 215"/>
                <a:gd name="T8" fmla="*/ 137 w 254"/>
                <a:gd name="T9" fmla="*/ 34 h 215"/>
                <a:gd name="T10" fmla="*/ 137 w 254"/>
                <a:gd name="T11" fmla="*/ 25 h 215"/>
                <a:gd name="T12" fmla="*/ 127 w 254"/>
                <a:gd name="T13" fmla="*/ 24 h 215"/>
                <a:gd name="T14" fmla="*/ 122 w 254"/>
                <a:gd name="T15" fmla="*/ 28 h 215"/>
                <a:gd name="T16" fmla="*/ 106 w 254"/>
                <a:gd name="T17" fmla="*/ 21 h 215"/>
                <a:gd name="T18" fmla="*/ 106 w 254"/>
                <a:gd name="T19" fmla="*/ 13 h 215"/>
                <a:gd name="T20" fmla="*/ 96 w 254"/>
                <a:gd name="T21" fmla="*/ 11 h 215"/>
                <a:gd name="T22" fmla="*/ 91 w 254"/>
                <a:gd name="T23" fmla="*/ 15 h 215"/>
                <a:gd name="T24" fmla="*/ 59 w 254"/>
                <a:gd name="T25" fmla="*/ 1 h 215"/>
                <a:gd name="T26" fmla="*/ 55 w 254"/>
                <a:gd name="T27" fmla="*/ 1 h 215"/>
                <a:gd name="T28" fmla="*/ 37 w 254"/>
                <a:gd name="T29" fmla="*/ 14 h 215"/>
                <a:gd name="T30" fmla="*/ 35 w 254"/>
                <a:gd name="T31" fmla="*/ 18 h 215"/>
                <a:gd name="T32" fmla="*/ 36 w 254"/>
                <a:gd name="T33" fmla="*/ 21 h 215"/>
                <a:gd name="T34" fmla="*/ 37 w 254"/>
                <a:gd name="T35" fmla="*/ 22 h 215"/>
                <a:gd name="T36" fmla="*/ 112 w 254"/>
                <a:gd name="T37" fmla="*/ 75 h 215"/>
                <a:gd name="T38" fmla="*/ 57 w 254"/>
                <a:gd name="T39" fmla="*/ 124 h 215"/>
                <a:gd name="T40" fmla="*/ 47 w 254"/>
                <a:gd name="T41" fmla="*/ 131 h 215"/>
                <a:gd name="T42" fmla="*/ 45 w 254"/>
                <a:gd name="T43" fmla="*/ 133 h 215"/>
                <a:gd name="T44" fmla="*/ 13 w 254"/>
                <a:gd name="T45" fmla="*/ 128 h 215"/>
                <a:gd name="T46" fmla="*/ 10 w 254"/>
                <a:gd name="T47" fmla="*/ 129 h 215"/>
                <a:gd name="T48" fmla="*/ 2 w 254"/>
                <a:gd name="T49" fmla="*/ 135 h 215"/>
                <a:gd name="T50" fmla="*/ 2 w 254"/>
                <a:gd name="T51" fmla="*/ 140 h 215"/>
                <a:gd name="T52" fmla="*/ 56 w 254"/>
                <a:gd name="T53" fmla="*/ 213 h 215"/>
                <a:gd name="T54" fmla="*/ 61 w 254"/>
                <a:gd name="T55" fmla="*/ 214 h 215"/>
                <a:gd name="T56" fmla="*/ 69 w 254"/>
                <a:gd name="T57" fmla="*/ 208 h 215"/>
                <a:gd name="T58" fmla="*/ 70 w 254"/>
                <a:gd name="T59" fmla="*/ 206 h 215"/>
                <a:gd name="T60" fmla="*/ 75 w 254"/>
                <a:gd name="T61" fmla="*/ 174 h 215"/>
                <a:gd name="T62" fmla="*/ 102 w 254"/>
                <a:gd name="T63" fmla="*/ 154 h 215"/>
                <a:gd name="T64" fmla="*/ 111 w 254"/>
                <a:gd name="T65" fmla="*/ 147 h 215"/>
                <a:gd name="T66" fmla="*/ 149 w 254"/>
                <a:gd name="T67" fmla="*/ 125 h 215"/>
                <a:gd name="T68" fmla="*/ 178 w 254"/>
                <a:gd name="T69" fmla="*/ 211 h 215"/>
                <a:gd name="T70" fmla="*/ 179 w 254"/>
                <a:gd name="T71" fmla="*/ 213 h 215"/>
                <a:gd name="T72" fmla="*/ 181 w 254"/>
                <a:gd name="T73" fmla="*/ 214 h 215"/>
                <a:gd name="T74" fmla="*/ 185 w 254"/>
                <a:gd name="T75" fmla="*/ 214 h 215"/>
                <a:gd name="T76" fmla="*/ 202 w 254"/>
                <a:gd name="T77" fmla="*/ 201 h 215"/>
                <a:gd name="T78" fmla="*/ 204 w 254"/>
                <a:gd name="T79" fmla="*/ 197 h 215"/>
                <a:gd name="T80" fmla="*/ 200 w 254"/>
                <a:gd name="T81" fmla="*/ 162 h 215"/>
                <a:gd name="T82" fmla="*/ 205 w 254"/>
                <a:gd name="T83" fmla="*/ 158 h 215"/>
                <a:gd name="T84" fmla="*/ 206 w 254"/>
                <a:gd name="T85" fmla="*/ 149 h 215"/>
                <a:gd name="T86" fmla="*/ 198 w 254"/>
                <a:gd name="T87" fmla="*/ 146 h 215"/>
                <a:gd name="T88" fmla="*/ 196 w 254"/>
                <a:gd name="T89" fmla="*/ 129 h 215"/>
                <a:gd name="T90" fmla="*/ 202 w 254"/>
                <a:gd name="T91" fmla="*/ 124 h 215"/>
                <a:gd name="T92" fmla="*/ 203 w 254"/>
                <a:gd name="T93" fmla="*/ 115 h 215"/>
                <a:gd name="T94" fmla="*/ 195 w 254"/>
                <a:gd name="T95" fmla="*/ 113 h 215"/>
                <a:gd name="T96" fmla="*/ 192 w 254"/>
                <a:gd name="T97" fmla="*/ 93 h 215"/>
                <a:gd name="T98" fmla="*/ 233 w 254"/>
                <a:gd name="T99" fmla="*/ 62 h 215"/>
                <a:gd name="T100" fmla="*/ 251 w 254"/>
                <a:gd name="T101" fmla="*/ 38 h 215"/>
                <a:gd name="T102" fmla="*/ 248 w 254"/>
                <a:gd name="T103" fmla="*/ 1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4" h="215">
                  <a:moveTo>
                    <a:pt x="248" y="13"/>
                  </a:moveTo>
                  <a:cubicBezTo>
                    <a:pt x="243" y="6"/>
                    <a:pt x="234" y="2"/>
                    <a:pt x="224" y="2"/>
                  </a:cubicBezTo>
                  <a:cubicBezTo>
                    <a:pt x="215" y="2"/>
                    <a:pt x="205" y="6"/>
                    <a:pt x="196" y="12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9" y="32"/>
                    <a:pt x="139" y="28"/>
                    <a:pt x="137" y="25"/>
                  </a:cubicBezTo>
                  <a:cubicBezTo>
                    <a:pt x="135" y="22"/>
                    <a:pt x="131" y="22"/>
                    <a:pt x="127" y="24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7" y="19"/>
                    <a:pt x="107" y="15"/>
                    <a:pt x="106" y="13"/>
                  </a:cubicBezTo>
                  <a:cubicBezTo>
                    <a:pt x="103" y="10"/>
                    <a:pt x="99" y="9"/>
                    <a:pt x="96" y="11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6" y="1"/>
                    <a:pt x="55" y="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6" y="15"/>
                    <a:pt x="35" y="17"/>
                    <a:pt x="35" y="18"/>
                  </a:cubicBezTo>
                  <a:cubicBezTo>
                    <a:pt x="35" y="19"/>
                    <a:pt x="36" y="20"/>
                    <a:pt x="36" y="21"/>
                  </a:cubicBezTo>
                  <a:cubicBezTo>
                    <a:pt x="37" y="21"/>
                    <a:pt x="37" y="21"/>
                    <a:pt x="37" y="22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57" y="124"/>
                    <a:pt x="57" y="124"/>
                    <a:pt x="57" y="124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2"/>
                    <a:pt x="46" y="132"/>
                    <a:pt x="45" y="133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2" y="128"/>
                    <a:pt x="11" y="128"/>
                    <a:pt x="10" y="129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1" y="136"/>
                    <a:pt x="0" y="138"/>
                    <a:pt x="2" y="140"/>
                  </a:cubicBezTo>
                  <a:cubicBezTo>
                    <a:pt x="56" y="213"/>
                    <a:pt x="56" y="213"/>
                    <a:pt x="56" y="213"/>
                  </a:cubicBezTo>
                  <a:cubicBezTo>
                    <a:pt x="57" y="215"/>
                    <a:pt x="59" y="215"/>
                    <a:pt x="61" y="214"/>
                  </a:cubicBezTo>
                  <a:cubicBezTo>
                    <a:pt x="69" y="208"/>
                    <a:pt x="69" y="208"/>
                    <a:pt x="69" y="208"/>
                  </a:cubicBezTo>
                  <a:cubicBezTo>
                    <a:pt x="70" y="207"/>
                    <a:pt x="70" y="207"/>
                    <a:pt x="70" y="206"/>
                  </a:cubicBezTo>
                  <a:cubicBezTo>
                    <a:pt x="75" y="174"/>
                    <a:pt x="75" y="174"/>
                    <a:pt x="75" y="174"/>
                  </a:cubicBezTo>
                  <a:cubicBezTo>
                    <a:pt x="76" y="173"/>
                    <a:pt x="101" y="154"/>
                    <a:pt x="102" y="154"/>
                  </a:cubicBezTo>
                  <a:cubicBezTo>
                    <a:pt x="111" y="147"/>
                    <a:pt x="111" y="147"/>
                    <a:pt x="111" y="147"/>
                  </a:cubicBezTo>
                  <a:cubicBezTo>
                    <a:pt x="149" y="125"/>
                    <a:pt x="149" y="125"/>
                    <a:pt x="149" y="125"/>
                  </a:cubicBezTo>
                  <a:cubicBezTo>
                    <a:pt x="178" y="211"/>
                    <a:pt x="178" y="211"/>
                    <a:pt x="178" y="211"/>
                  </a:cubicBezTo>
                  <a:cubicBezTo>
                    <a:pt x="178" y="212"/>
                    <a:pt x="178" y="212"/>
                    <a:pt x="179" y="213"/>
                  </a:cubicBezTo>
                  <a:cubicBezTo>
                    <a:pt x="179" y="213"/>
                    <a:pt x="180" y="214"/>
                    <a:pt x="181" y="214"/>
                  </a:cubicBezTo>
                  <a:cubicBezTo>
                    <a:pt x="182" y="215"/>
                    <a:pt x="184" y="215"/>
                    <a:pt x="185" y="214"/>
                  </a:cubicBezTo>
                  <a:cubicBezTo>
                    <a:pt x="202" y="201"/>
                    <a:pt x="202" y="201"/>
                    <a:pt x="202" y="201"/>
                  </a:cubicBezTo>
                  <a:cubicBezTo>
                    <a:pt x="204" y="200"/>
                    <a:pt x="204" y="198"/>
                    <a:pt x="204" y="197"/>
                  </a:cubicBezTo>
                  <a:cubicBezTo>
                    <a:pt x="200" y="162"/>
                    <a:pt x="200" y="162"/>
                    <a:pt x="200" y="162"/>
                  </a:cubicBezTo>
                  <a:cubicBezTo>
                    <a:pt x="205" y="158"/>
                    <a:pt x="205" y="158"/>
                    <a:pt x="205" y="158"/>
                  </a:cubicBezTo>
                  <a:cubicBezTo>
                    <a:pt x="208" y="156"/>
                    <a:pt x="209" y="152"/>
                    <a:pt x="206" y="149"/>
                  </a:cubicBezTo>
                  <a:cubicBezTo>
                    <a:pt x="204" y="146"/>
                    <a:pt x="201" y="145"/>
                    <a:pt x="198" y="146"/>
                  </a:cubicBezTo>
                  <a:cubicBezTo>
                    <a:pt x="196" y="129"/>
                    <a:pt x="196" y="129"/>
                    <a:pt x="196" y="129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5" y="122"/>
                    <a:pt x="206" y="118"/>
                    <a:pt x="203" y="115"/>
                  </a:cubicBezTo>
                  <a:cubicBezTo>
                    <a:pt x="201" y="112"/>
                    <a:pt x="198" y="111"/>
                    <a:pt x="195" y="113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33" y="62"/>
                    <a:pt x="233" y="62"/>
                    <a:pt x="233" y="62"/>
                  </a:cubicBezTo>
                  <a:cubicBezTo>
                    <a:pt x="242" y="56"/>
                    <a:pt x="248" y="48"/>
                    <a:pt x="251" y="38"/>
                  </a:cubicBezTo>
                  <a:cubicBezTo>
                    <a:pt x="254" y="29"/>
                    <a:pt x="253" y="20"/>
                    <a:pt x="248" y="13"/>
                  </a:cubicBez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D888797B-EDEE-4978-BAC3-47BE868AA187}"/>
              </a:ext>
            </a:extLst>
          </p:cNvPr>
          <p:cNvSpPr txBox="1"/>
          <p:nvPr/>
        </p:nvSpPr>
        <p:spPr>
          <a:xfrm>
            <a:off x="6156561" y="2961577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BA084A9-4919-47F9-8AD4-66C02A309AF7}"/>
              </a:ext>
            </a:extLst>
          </p:cNvPr>
          <p:cNvGrpSpPr/>
          <p:nvPr/>
        </p:nvGrpSpPr>
        <p:grpSpPr>
          <a:xfrm>
            <a:off x="4328314" y="2165516"/>
            <a:ext cx="701675" cy="703263"/>
            <a:chOff x="10671175" y="1514476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60" name="Oval 16">
              <a:extLst>
                <a:ext uri="{FF2B5EF4-FFF2-40B4-BE49-F238E27FC236}">
                  <a16:creationId xmlns:a16="http://schemas.microsoft.com/office/drawing/2014/main" id="{5806CBB8-F3C6-4C10-A37F-EE6F3BD33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1175" y="1514476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Freeform 72">
              <a:extLst>
                <a:ext uri="{FF2B5EF4-FFF2-40B4-BE49-F238E27FC236}">
                  <a16:creationId xmlns:a16="http://schemas.microsoft.com/office/drawing/2014/main" id="{7C3381E9-AC80-4635-9BAB-B8F17FE22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8813" y="1690688"/>
              <a:ext cx="404813" cy="342900"/>
            </a:xfrm>
            <a:custGeom>
              <a:avLst/>
              <a:gdLst>
                <a:gd name="T0" fmla="*/ 248 w 254"/>
                <a:gd name="T1" fmla="*/ 13 h 215"/>
                <a:gd name="T2" fmla="*/ 224 w 254"/>
                <a:gd name="T3" fmla="*/ 2 h 215"/>
                <a:gd name="T4" fmla="*/ 196 w 254"/>
                <a:gd name="T5" fmla="*/ 12 h 215"/>
                <a:gd name="T6" fmla="*/ 155 w 254"/>
                <a:gd name="T7" fmla="*/ 43 h 215"/>
                <a:gd name="T8" fmla="*/ 137 w 254"/>
                <a:gd name="T9" fmla="*/ 34 h 215"/>
                <a:gd name="T10" fmla="*/ 137 w 254"/>
                <a:gd name="T11" fmla="*/ 25 h 215"/>
                <a:gd name="T12" fmla="*/ 127 w 254"/>
                <a:gd name="T13" fmla="*/ 24 h 215"/>
                <a:gd name="T14" fmla="*/ 122 w 254"/>
                <a:gd name="T15" fmla="*/ 28 h 215"/>
                <a:gd name="T16" fmla="*/ 106 w 254"/>
                <a:gd name="T17" fmla="*/ 21 h 215"/>
                <a:gd name="T18" fmla="*/ 106 w 254"/>
                <a:gd name="T19" fmla="*/ 13 h 215"/>
                <a:gd name="T20" fmla="*/ 96 w 254"/>
                <a:gd name="T21" fmla="*/ 11 h 215"/>
                <a:gd name="T22" fmla="*/ 91 w 254"/>
                <a:gd name="T23" fmla="*/ 15 h 215"/>
                <a:gd name="T24" fmla="*/ 59 w 254"/>
                <a:gd name="T25" fmla="*/ 1 h 215"/>
                <a:gd name="T26" fmla="*/ 55 w 254"/>
                <a:gd name="T27" fmla="*/ 1 h 215"/>
                <a:gd name="T28" fmla="*/ 37 w 254"/>
                <a:gd name="T29" fmla="*/ 14 h 215"/>
                <a:gd name="T30" fmla="*/ 35 w 254"/>
                <a:gd name="T31" fmla="*/ 18 h 215"/>
                <a:gd name="T32" fmla="*/ 36 w 254"/>
                <a:gd name="T33" fmla="*/ 21 h 215"/>
                <a:gd name="T34" fmla="*/ 37 w 254"/>
                <a:gd name="T35" fmla="*/ 22 h 215"/>
                <a:gd name="T36" fmla="*/ 112 w 254"/>
                <a:gd name="T37" fmla="*/ 75 h 215"/>
                <a:gd name="T38" fmla="*/ 57 w 254"/>
                <a:gd name="T39" fmla="*/ 124 h 215"/>
                <a:gd name="T40" fmla="*/ 47 w 254"/>
                <a:gd name="T41" fmla="*/ 131 h 215"/>
                <a:gd name="T42" fmla="*/ 45 w 254"/>
                <a:gd name="T43" fmla="*/ 133 h 215"/>
                <a:gd name="T44" fmla="*/ 13 w 254"/>
                <a:gd name="T45" fmla="*/ 128 h 215"/>
                <a:gd name="T46" fmla="*/ 10 w 254"/>
                <a:gd name="T47" fmla="*/ 129 h 215"/>
                <a:gd name="T48" fmla="*/ 2 w 254"/>
                <a:gd name="T49" fmla="*/ 135 h 215"/>
                <a:gd name="T50" fmla="*/ 2 w 254"/>
                <a:gd name="T51" fmla="*/ 140 h 215"/>
                <a:gd name="T52" fmla="*/ 56 w 254"/>
                <a:gd name="T53" fmla="*/ 213 h 215"/>
                <a:gd name="T54" fmla="*/ 61 w 254"/>
                <a:gd name="T55" fmla="*/ 214 h 215"/>
                <a:gd name="T56" fmla="*/ 69 w 254"/>
                <a:gd name="T57" fmla="*/ 208 h 215"/>
                <a:gd name="T58" fmla="*/ 70 w 254"/>
                <a:gd name="T59" fmla="*/ 206 h 215"/>
                <a:gd name="T60" fmla="*/ 75 w 254"/>
                <a:gd name="T61" fmla="*/ 174 h 215"/>
                <a:gd name="T62" fmla="*/ 102 w 254"/>
                <a:gd name="T63" fmla="*/ 154 h 215"/>
                <a:gd name="T64" fmla="*/ 111 w 254"/>
                <a:gd name="T65" fmla="*/ 147 h 215"/>
                <a:gd name="T66" fmla="*/ 149 w 254"/>
                <a:gd name="T67" fmla="*/ 125 h 215"/>
                <a:gd name="T68" fmla="*/ 178 w 254"/>
                <a:gd name="T69" fmla="*/ 211 h 215"/>
                <a:gd name="T70" fmla="*/ 179 w 254"/>
                <a:gd name="T71" fmla="*/ 213 h 215"/>
                <a:gd name="T72" fmla="*/ 181 w 254"/>
                <a:gd name="T73" fmla="*/ 214 h 215"/>
                <a:gd name="T74" fmla="*/ 185 w 254"/>
                <a:gd name="T75" fmla="*/ 214 h 215"/>
                <a:gd name="T76" fmla="*/ 202 w 254"/>
                <a:gd name="T77" fmla="*/ 201 h 215"/>
                <a:gd name="T78" fmla="*/ 204 w 254"/>
                <a:gd name="T79" fmla="*/ 197 h 215"/>
                <a:gd name="T80" fmla="*/ 200 w 254"/>
                <a:gd name="T81" fmla="*/ 162 h 215"/>
                <a:gd name="T82" fmla="*/ 205 w 254"/>
                <a:gd name="T83" fmla="*/ 158 h 215"/>
                <a:gd name="T84" fmla="*/ 206 w 254"/>
                <a:gd name="T85" fmla="*/ 149 h 215"/>
                <a:gd name="T86" fmla="*/ 198 w 254"/>
                <a:gd name="T87" fmla="*/ 146 h 215"/>
                <a:gd name="T88" fmla="*/ 196 w 254"/>
                <a:gd name="T89" fmla="*/ 129 h 215"/>
                <a:gd name="T90" fmla="*/ 202 w 254"/>
                <a:gd name="T91" fmla="*/ 124 h 215"/>
                <a:gd name="T92" fmla="*/ 203 w 254"/>
                <a:gd name="T93" fmla="*/ 115 h 215"/>
                <a:gd name="T94" fmla="*/ 195 w 254"/>
                <a:gd name="T95" fmla="*/ 113 h 215"/>
                <a:gd name="T96" fmla="*/ 192 w 254"/>
                <a:gd name="T97" fmla="*/ 93 h 215"/>
                <a:gd name="T98" fmla="*/ 233 w 254"/>
                <a:gd name="T99" fmla="*/ 62 h 215"/>
                <a:gd name="T100" fmla="*/ 251 w 254"/>
                <a:gd name="T101" fmla="*/ 38 h 215"/>
                <a:gd name="T102" fmla="*/ 248 w 254"/>
                <a:gd name="T103" fmla="*/ 1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4" h="215">
                  <a:moveTo>
                    <a:pt x="248" y="13"/>
                  </a:moveTo>
                  <a:cubicBezTo>
                    <a:pt x="243" y="6"/>
                    <a:pt x="234" y="2"/>
                    <a:pt x="224" y="2"/>
                  </a:cubicBezTo>
                  <a:cubicBezTo>
                    <a:pt x="215" y="2"/>
                    <a:pt x="205" y="6"/>
                    <a:pt x="196" y="12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9" y="32"/>
                    <a:pt x="139" y="28"/>
                    <a:pt x="137" y="25"/>
                  </a:cubicBezTo>
                  <a:cubicBezTo>
                    <a:pt x="135" y="22"/>
                    <a:pt x="131" y="22"/>
                    <a:pt x="127" y="24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7" y="19"/>
                    <a:pt x="107" y="15"/>
                    <a:pt x="106" y="13"/>
                  </a:cubicBezTo>
                  <a:cubicBezTo>
                    <a:pt x="103" y="10"/>
                    <a:pt x="99" y="9"/>
                    <a:pt x="96" y="11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6" y="1"/>
                    <a:pt x="55" y="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6" y="15"/>
                    <a:pt x="35" y="17"/>
                    <a:pt x="35" y="18"/>
                  </a:cubicBezTo>
                  <a:cubicBezTo>
                    <a:pt x="35" y="19"/>
                    <a:pt x="36" y="20"/>
                    <a:pt x="36" y="21"/>
                  </a:cubicBezTo>
                  <a:cubicBezTo>
                    <a:pt x="37" y="21"/>
                    <a:pt x="37" y="21"/>
                    <a:pt x="37" y="22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57" y="124"/>
                    <a:pt x="57" y="124"/>
                    <a:pt x="57" y="124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2"/>
                    <a:pt x="46" y="132"/>
                    <a:pt x="45" y="133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2" y="128"/>
                    <a:pt x="11" y="128"/>
                    <a:pt x="10" y="129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1" y="136"/>
                    <a:pt x="0" y="138"/>
                    <a:pt x="2" y="140"/>
                  </a:cubicBezTo>
                  <a:cubicBezTo>
                    <a:pt x="56" y="213"/>
                    <a:pt x="56" y="213"/>
                    <a:pt x="56" y="213"/>
                  </a:cubicBezTo>
                  <a:cubicBezTo>
                    <a:pt x="57" y="215"/>
                    <a:pt x="59" y="215"/>
                    <a:pt x="61" y="214"/>
                  </a:cubicBezTo>
                  <a:cubicBezTo>
                    <a:pt x="69" y="208"/>
                    <a:pt x="69" y="208"/>
                    <a:pt x="69" y="208"/>
                  </a:cubicBezTo>
                  <a:cubicBezTo>
                    <a:pt x="70" y="207"/>
                    <a:pt x="70" y="207"/>
                    <a:pt x="70" y="206"/>
                  </a:cubicBezTo>
                  <a:cubicBezTo>
                    <a:pt x="75" y="174"/>
                    <a:pt x="75" y="174"/>
                    <a:pt x="75" y="174"/>
                  </a:cubicBezTo>
                  <a:cubicBezTo>
                    <a:pt x="76" y="173"/>
                    <a:pt x="101" y="154"/>
                    <a:pt x="102" y="154"/>
                  </a:cubicBezTo>
                  <a:cubicBezTo>
                    <a:pt x="111" y="147"/>
                    <a:pt x="111" y="147"/>
                    <a:pt x="111" y="147"/>
                  </a:cubicBezTo>
                  <a:cubicBezTo>
                    <a:pt x="149" y="125"/>
                    <a:pt x="149" y="125"/>
                    <a:pt x="149" y="125"/>
                  </a:cubicBezTo>
                  <a:cubicBezTo>
                    <a:pt x="178" y="211"/>
                    <a:pt x="178" y="211"/>
                    <a:pt x="178" y="211"/>
                  </a:cubicBezTo>
                  <a:cubicBezTo>
                    <a:pt x="178" y="212"/>
                    <a:pt x="178" y="212"/>
                    <a:pt x="179" y="213"/>
                  </a:cubicBezTo>
                  <a:cubicBezTo>
                    <a:pt x="179" y="213"/>
                    <a:pt x="180" y="214"/>
                    <a:pt x="181" y="214"/>
                  </a:cubicBezTo>
                  <a:cubicBezTo>
                    <a:pt x="182" y="215"/>
                    <a:pt x="184" y="215"/>
                    <a:pt x="185" y="214"/>
                  </a:cubicBezTo>
                  <a:cubicBezTo>
                    <a:pt x="202" y="201"/>
                    <a:pt x="202" y="201"/>
                    <a:pt x="202" y="201"/>
                  </a:cubicBezTo>
                  <a:cubicBezTo>
                    <a:pt x="204" y="200"/>
                    <a:pt x="204" y="198"/>
                    <a:pt x="204" y="197"/>
                  </a:cubicBezTo>
                  <a:cubicBezTo>
                    <a:pt x="200" y="162"/>
                    <a:pt x="200" y="162"/>
                    <a:pt x="200" y="162"/>
                  </a:cubicBezTo>
                  <a:cubicBezTo>
                    <a:pt x="205" y="158"/>
                    <a:pt x="205" y="158"/>
                    <a:pt x="205" y="158"/>
                  </a:cubicBezTo>
                  <a:cubicBezTo>
                    <a:pt x="208" y="156"/>
                    <a:pt x="209" y="152"/>
                    <a:pt x="206" y="149"/>
                  </a:cubicBezTo>
                  <a:cubicBezTo>
                    <a:pt x="204" y="146"/>
                    <a:pt x="201" y="145"/>
                    <a:pt x="198" y="146"/>
                  </a:cubicBezTo>
                  <a:cubicBezTo>
                    <a:pt x="196" y="129"/>
                    <a:pt x="196" y="129"/>
                    <a:pt x="196" y="129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5" y="122"/>
                    <a:pt x="206" y="118"/>
                    <a:pt x="203" y="115"/>
                  </a:cubicBezTo>
                  <a:cubicBezTo>
                    <a:pt x="201" y="112"/>
                    <a:pt x="198" y="111"/>
                    <a:pt x="195" y="113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33" y="62"/>
                    <a:pt x="233" y="62"/>
                    <a:pt x="233" y="62"/>
                  </a:cubicBezTo>
                  <a:cubicBezTo>
                    <a:pt x="242" y="56"/>
                    <a:pt x="248" y="48"/>
                    <a:pt x="251" y="38"/>
                  </a:cubicBezTo>
                  <a:cubicBezTo>
                    <a:pt x="254" y="29"/>
                    <a:pt x="253" y="20"/>
                    <a:pt x="248" y="13"/>
                  </a:cubicBez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36DE1F0A-79D8-4DA9-8BE8-1F03B89FAACA}"/>
              </a:ext>
            </a:extLst>
          </p:cNvPr>
          <p:cNvSpPr txBox="1"/>
          <p:nvPr/>
        </p:nvSpPr>
        <p:spPr>
          <a:xfrm>
            <a:off x="4201272" y="295206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DA57E02-5B4D-4503-B3A9-F30B80AFEB85}"/>
              </a:ext>
            </a:extLst>
          </p:cNvPr>
          <p:cNvGrpSpPr/>
          <p:nvPr/>
        </p:nvGrpSpPr>
        <p:grpSpPr>
          <a:xfrm>
            <a:off x="5342157" y="2165516"/>
            <a:ext cx="703263" cy="703263"/>
            <a:chOff x="8885238" y="15208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64" name="Oval 14">
              <a:extLst>
                <a:ext uri="{FF2B5EF4-FFF2-40B4-BE49-F238E27FC236}">
                  <a16:creationId xmlns:a16="http://schemas.microsoft.com/office/drawing/2014/main" id="{F008F643-EB6F-4F3C-992C-6FFD78B0D9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5238" y="15208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Line 51">
              <a:extLst>
                <a:ext uri="{FF2B5EF4-FFF2-40B4-BE49-F238E27FC236}">
                  <a16:creationId xmlns:a16="http://schemas.microsoft.com/office/drawing/2014/main" id="{2C5DD14D-24EA-498A-AE18-07CBAAF616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48763" y="1997076"/>
              <a:ext cx="7620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Line 52">
              <a:extLst>
                <a:ext uri="{FF2B5EF4-FFF2-40B4-BE49-F238E27FC236}">
                  <a16:creationId xmlns:a16="http://schemas.microsoft.com/office/drawing/2014/main" id="{4E99D413-87B5-4BE3-BFBA-5FC508A01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1000" y="19970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Freeform 53">
              <a:extLst>
                <a:ext uri="{FF2B5EF4-FFF2-40B4-BE49-F238E27FC236}">
                  <a16:creationId xmlns:a16="http://schemas.microsoft.com/office/drawing/2014/main" id="{7A925864-A060-4537-BE38-4C5848F9C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0650" y="16827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3 h 198"/>
                <a:gd name="T6" fmla="*/ 30 w 221"/>
                <a:gd name="T7" fmla="*/ 103 h 198"/>
                <a:gd name="T8" fmla="*/ 31 w 221"/>
                <a:gd name="T9" fmla="*/ 0 h 198"/>
                <a:gd name="T10" fmla="*/ 129 w 221"/>
                <a:gd name="T11" fmla="*/ 0 h 198"/>
                <a:gd name="T12" fmla="*/ 177 w 221"/>
                <a:gd name="T13" fmla="*/ 136 h 198"/>
                <a:gd name="T14" fmla="*/ 202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3"/>
                  </a:lnTo>
                  <a:lnTo>
                    <a:pt x="30" y="103"/>
                  </a:lnTo>
                  <a:lnTo>
                    <a:pt x="31" y="0"/>
                  </a:lnTo>
                  <a:lnTo>
                    <a:pt x="129" y="0"/>
                  </a:lnTo>
                  <a:lnTo>
                    <a:pt x="177" y="136"/>
                  </a:lnTo>
                  <a:lnTo>
                    <a:pt x="202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54">
              <a:extLst>
                <a:ext uri="{FF2B5EF4-FFF2-40B4-BE49-F238E27FC236}">
                  <a16:creationId xmlns:a16="http://schemas.microsoft.com/office/drawing/2014/main" id="{2D90CD0F-EF2F-4E28-8103-47E5C84FC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0025" y="1714501"/>
              <a:ext cx="168275" cy="184150"/>
            </a:xfrm>
            <a:custGeom>
              <a:avLst/>
              <a:gdLst>
                <a:gd name="T0" fmla="*/ 0 w 106"/>
                <a:gd name="T1" fmla="*/ 0 h 116"/>
                <a:gd name="T2" fmla="*/ 65 w 106"/>
                <a:gd name="T3" fmla="*/ 0 h 116"/>
                <a:gd name="T4" fmla="*/ 106 w 106"/>
                <a:gd name="T5" fmla="*/ 116 h 116"/>
                <a:gd name="T6" fmla="*/ 62 w 106"/>
                <a:gd name="T7" fmla="*/ 116 h 116"/>
                <a:gd name="T8" fmla="*/ 42 w 106"/>
                <a:gd name="T9" fmla="*/ 81 h 116"/>
                <a:gd name="T10" fmla="*/ 0 w 106"/>
                <a:gd name="T11" fmla="*/ 81 h 116"/>
                <a:gd name="T12" fmla="*/ 0 w 106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16">
                  <a:moveTo>
                    <a:pt x="0" y="0"/>
                  </a:moveTo>
                  <a:lnTo>
                    <a:pt x="65" y="0"/>
                  </a:lnTo>
                  <a:lnTo>
                    <a:pt x="106" y="116"/>
                  </a:lnTo>
                  <a:lnTo>
                    <a:pt x="62" y="116"/>
                  </a:lnTo>
                  <a:lnTo>
                    <a:pt x="42" y="81"/>
                  </a:lnTo>
                  <a:lnTo>
                    <a:pt x="0" y="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Freeform 55">
              <a:extLst>
                <a:ext uri="{FF2B5EF4-FFF2-40B4-BE49-F238E27FC236}">
                  <a16:creationId xmlns:a16="http://schemas.microsoft.com/office/drawing/2014/main" id="{5B35CE57-F374-462B-B890-BE5BCC0E1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2113" y="1697038"/>
              <a:ext cx="230188" cy="296863"/>
            </a:xfrm>
            <a:custGeom>
              <a:avLst/>
              <a:gdLst>
                <a:gd name="T0" fmla="*/ 0 w 145"/>
                <a:gd name="T1" fmla="*/ 0 h 187"/>
                <a:gd name="T2" fmla="*/ 63 w 145"/>
                <a:gd name="T3" fmla="*/ 187 h 187"/>
                <a:gd name="T4" fmla="*/ 145 w 145"/>
                <a:gd name="T5" fmla="*/ 1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5" h="187">
                  <a:moveTo>
                    <a:pt x="0" y="0"/>
                  </a:moveTo>
                  <a:lnTo>
                    <a:pt x="63" y="187"/>
                  </a:lnTo>
                  <a:lnTo>
                    <a:pt x="145" y="162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Oval 56">
              <a:extLst>
                <a:ext uri="{FF2B5EF4-FFF2-40B4-BE49-F238E27FC236}">
                  <a16:creationId xmlns:a16="http://schemas.microsoft.com/office/drawing/2014/main" id="{CF11B730-9E1D-41D3-AF00-1642D4398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5738" y="1970088"/>
              <a:ext cx="69850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Oval 57">
              <a:extLst>
                <a:ext uri="{FF2B5EF4-FFF2-40B4-BE49-F238E27FC236}">
                  <a16:creationId xmlns:a16="http://schemas.microsoft.com/office/drawing/2014/main" id="{7CA481B7-FAEE-48E0-8AFB-A30795E91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6550" y="19700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0292CED4-9246-418E-A07F-99BAA1B4B7AF}"/>
              </a:ext>
            </a:extLst>
          </p:cNvPr>
          <p:cNvSpPr txBox="1"/>
          <p:nvPr/>
        </p:nvSpPr>
        <p:spPr>
          <a:xfrm>
            <a:off x="5216670" y="2936537"/>
            <a:ext cx="933848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845DF45-C20D-4FFC-8D4F-BE5C01F05B7E}"/>
              </a:ext>
            </a:extLst>
          </p:cNvPr>
          <p:cNvGrpSpPr/>
          <p:nvPr/>
        </p:nvGrpSpPr>
        <p:grpSpPr>
          <a:xfrm>
            <a:off x="7246842" y="2165516"/>
            <a:ext cx="703263" cy="703263"/>
            <a:chOff x="7085013" y="31210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74" name="Oval 8">
              <a:extLst>
                <a:ext uri="{FF2B5EF4-FFF2-40B4-BE49-F238E27FC236}">
                  <a16:creationId xmlns:a16="http://schemas.microsoft.com/office/drawing/2014/main" id="{9300FED1-8D12-4984-A060-90BB33F6C8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5013" y="31210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Line 58">
              <a:extLst>
                <a:ext uri="{FF2B5EF4-FFF2-40B4-BE49-F238E27FC236}">
                  <a16:creationId xmlns:a16="http://schemas.microsoft.com/office/drawing/2014/main" id="{00D7E20B-D6A9-4B65-B636-64AB2703FD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348538" y="3597276"/>
              <a:ext cx="73025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6" name="Line 59">
              <a:extLst>
                <a:ext uri="{FF2B5EF4-FFF2-40B4-BE49-F238E27FC236}">
                  <a16:creationId xmlns:a16="http://schemas.microsoft.com/office/drawing/2014/main" id="{A6607D65-6980-4ED0-9A9B-C308353CDB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69188" y="35972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Freeform 60">
              <a:extLst>
                <a:ext uri="{FF2B5EF4-FFF2-40B4-BE49-F238E27FC236}">
                  <a16:creationId xmlns:a16="http://schemas.microsoft.com/office/drawing/2014/main" id="{6DB41175-6009-4FC9-A669-699A9BD64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425" y="32829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4 h 198"/>
                <a:gd name="T6" fmla="*/ 30 w 221"/>
                <a:gd name="T7" fmla="*/ 104 h 198"/>
                <a:gd name="T8" fmla="*/ 30 w 221"/>
                <a:gd name="T9" fmla="*/ 0 h 198"/>
                <a:gd name="T10" fmla="*/ 128 w 221"/>
                <a:gd name="T11" fmla="*/ 0 h 198"/>
                <a:gd name="T12" fmla="*/ 177 w 221"/>
                <a:gd name="T13" fmla="*/ 136 h 198"/>
                <a:gd name="T14" fmla="*/ 201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4"/>
                  </a:lnTo>
                  <a:lnTo>
                    <a:pt x="30" y="104"/>
                  </a:lnTo>
                  <a:lnTo>
                    <a:pt x="30" y="0"/>
                  </a:lnTo>
                  <a:lnTo>
                    <a:pt x="128" y="0"/>
                  </a:lnTo>
                  <a:lnTo>
                    <a:pt x="177" y="136"/>
                  </a:lnTo>
                  <a:lnTo>
                    <a:pt x="201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8" name="Freeform 61">
              <a:extLst>
                <a:ext uri="{FF2B5EF4-FFF2-40B4-BE49-F238E27FC236}">
                  <a16:creationId xmlns:a16="http://schemas.microsoft.com/office/drawing/2014/main" id="{19C1D6E6-907F-47CC-8F35-A316FD2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800" y="3314701"/>
              <a:ext cx="166688" cy="184150"/>
            </a:xfrm>
            <a:custGeom>
              <a:avLst/>
              <a:gdLst>
                <a:gd name="T0" fmla="*/ 0 w 105"/>
                <a:gd name="T1" fmla="*/ 0 h 116"/>
                <a:gd name="T2" fmla="*/ 64 w 105"/>
                <a:gd name="T3" fmla="*/ 0 h 116"/>
                <a:gd name="T4" fmla="*/ 105 w 105"/>
                <a:gd name="T5" fmla="*/ 116 h 116"/>
                <a:gd name="T6" fmla="*/ 61 w 105"/>
                <a:gd name="T7" fmla="*/ 116 h 116"/>
                <a:gd name="T8" fmla="*/ 42 w 105"/>
                <a:gd name="T9" fmla="*/ 82 h 116"/>
                <a:gd name="T10" fmla="*/ 0 w 105"/>
                <a:gd name="T11" fmla="*/ 82 h 116"/>
                <a:gd name="T12" fmla="*/ 0 w 105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116">
                  <a:moveTo>
                    <a:pt x="0" y="0"/>
                  </a:moveTo>
                  <a:lnTo>
                    <a:pt x="64" y="0"/>
                  </a:lnTo>
                  <a:lnTo>
                    <a:pt x="105" y="116"/>
                  </a:lnTo>
                  <a:lnTo>
                    <a:pt x="61" y="116"/>
                  </a:lnTo>
                  <a:lnTo>
                    <a:pt x="42" y="82"/>
                  </a:lnTo>
                  <a:lnTo>
                    <a:pt x="0" y="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E221A362-5C56-46E1-BBA3-6D114616F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1888" y="3297238"/>
              <a:ext cx="227013" cy="296863"/>
            </a:xfrm>
            <a:custGeom>
              <a:avLst/>
              <a:gdLst>
                <a:gd name="T0" fmla="*/ 0 w 143"/>
                <a:gd name="T1" fmla="*/ 0 h 187"/>
                <a:gd name="T2" fmla="*/ 62 w 143"/>
                <a:gd name="T3" fmla="*/ 187 h 187"/>
                <a:gd name="T4" fmla="*/ 143 w 143"/>
                <a:gd name="T5" fmla="*/ 16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3" h="187">
                  <a:moveTo>
                    <a:pt x="0" y="0"/>
                  </a:moveTo>
                  <a:lnTo>
                    <a:pt x="62" y="187"/>
                  </a:lnTo>
                  <a:lnTo>
                    <a:pt x="143" y="163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0" name="Oval 63">
              <a:extLst>
                <a:ext uri="{FF2B5EF4-FFF2-40B4-BE49-F238E27FC236}">
                  <a16:creationId xmlns:a16="http://schemas.microsoft.com/office/drawing/2014/main" id="{86B779A9-C254-4E1C-AE8D-0565A5BEA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3925" y="35702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Oval 64">
              <a:extLst>
                <a:ext uri="{FF2B5EF4-FFF2-40B4-BE49-F238E27FC236}">
                  <a16:creationId xmlns:a16="http://schemas.microsoft.com/office/drawing/2014/main" id="{D551F2A1-1F13-4506-96E4-2F39CA38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4738" y="35702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70EBAD6B-7563-4D30-99DD-C6F6F2F64934}"/>
              </a:ext>
            </a:extLst>
          </p:cNvPr>
          <p:cNvSpPr txBox="1"/>
          <p:nvPr/>
        </p:nvSpPr>
        <p:spPr>
          <a:xfrm>
            <a:off x="7122671" y="2930050"/>
            <a:ext cx="934054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2B0BB71-EE42-43A4-87A8-578E44A06403}"/>
              </a:ext>
            </a:extLst>
          </p:cNvPr>
          <p:cNvGrpSpPr/>
          <p:nvPr/>
        </p:nvGrpSpPr>
        <p:grpSpPr>
          <a:xfrm>
            <a:off x="8222729" y="2165516"/>
            <a:ext cx="703263" cy="703263"/>
            <a:chOff x="7105650" y="4652963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84" name="Oval 22">
              <a:extLst>
                <a:ext uri="{FF2B5EF4-FFF2-40B4-BE49-F238E27FC236}">
                  <a16:creationId xmlns:a16="http://schemas.microsoft.com/office/drawing/2014/main" id="{3E378D85-29FE-4C9D-8C74-E7BEB2C53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5650" y="4652963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5" name="Line 34">
              <a:extLst>
                <a:ext uri="{FF2B5EF4-FFF2-40B4-BE49-F238E27FC236}">
                  <a16:creationId xmlns:a16="http://schemas.microsoft.com/office/drawing/2014/main" id="{7F00D501-56BA-4F61-BF96-6EE6FBBB59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89788" y="4983163"/>
              <a:ext cx="61913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6" name="Line 35">
              <a:extLst>
                <a:ext uri="{FF2B5EF4-FFF2-40B4-BE49-F238E27FC236}">
                  <a16:creationId xmlns:a16="http://schemas.microsoft.com/office/drawing/2014/main" id="{CC4CB40D-0F2E-43F6-9AA1-F28520D272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4388" y="4956176"/>
              <a:ext cx="87313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7" name="Oval 36">
              <a:extLst>
                <a:ext uri="{FF2B5EF4-FFF2-40B4-BE49-F238E27FC236}">
                  <a16:creationId xmlns:a16="http://schemas.microsoft.com/office/drawing/2014/main" id="{5DF6DB5C-0C19-456C-BB59-419D090D9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5988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8" name="Oval 37">
              <a:extLst>
                <a:ext uri="{FF2B5EF4-FFF2-40B4-BE49-F238E27FC236}">
                  <a16:creationId xmlns:a16="http://schemas.microsoft.com/office/drawing/2014/main" id="{C4B6B9E1-EC9E-4580-BB51-CC4791D77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4250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9" name="Oval 38">
              <a:extLst>
                <a:ext uri="{FF2B5EF4-FFF2-40B4-BE49-F238E27FC236}">
                  <a16:creationId xmlns:a16="http://schemas.microsoft.com/office/drawing/2014/main" id="{487B0A0B-4390-4F59-BA99-1C3B8EDB5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4100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0" name="Freeform 39">
              <a:extLst>
                <a:ext uri="{FF2B5EF4-FFF2-40B4-BE49-F238E27FC236}">
                  <a16:creationId xmlns:a16="http://schemas.microsoft.com/office/drawing/2014/main" id="{6C79A321-79B0-44B8-ADCF-5BF902EE0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5" y="4918076"/>
              <a:ext cx="36513" cy="22225"/>
            </a:xfrm>
            <a:custGeom>
              <a:avLst/>
              <a:gdLst>
                <a:gd name="T0" fmla="*/ 0 w 23"/>
                <a:gd name="T1" fmla="*/ 14 h 14"/>
                <a:gd name="T2" fmla="*/ 0 w 23"/>
                <a:gd name="T3" fmla="*/ 0 h 14"/>
                <a:gd name="T4" fmla="*/ 23 w 23"/>
                <a:gd name="T5" fmla="*/ 14 h 14"/>
                <a:gd name="T6" fmla="*/ 0 w 23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4">
                  <a:moveTo>
                    <a:pt x="0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6"/>
                    <a:pt x="23" y="14"/>
                    <a:pt x="23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1" name="Freeform 40">
              <a:extLst>
                <a:ext uri="{FF2B5EF4-FFF2-40B4-BE49-F238E27FC236}">
                  <a16:creationId xmlns:a16="http://schemas.microsoft.com/office/drawing/2014/main" id="{AF22BDE7-CED3-4B15-80F3-239BE28FD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4918076"/>
              <a:ext cx="388938" cy="157163"/>
            </a:xfrm>
            <a:custGeom>
              <a:avLst/>
              <a:gdLst>
                <a:gd name="T0" fmla="*/ 148 w 245"/>
                <a:gd name="T1" fmla="*/ 99 h 99"/>
                <a:gd name="T2" fmla="*/ 244 w 245"/>
                <a:gd name="T3" fmla="*/ 99 h 99"/>
                <a:gd name="T4" fmla="*/ 245 w 245"/>
                <a:gd name="T5" fmla="*/ 0 h 99"/>
                <a:gd name="T6" fmla="*/ 0 w 245"/>
                <a:gd name="T7" fmla="*/ 0 h 99"/>
                <a:gd name="T8" fmla="*/ 0 w 245"/>
                <a:gd name="T9" fmla="*/ 99 h 99"/>
                <a:gd name="T10" fmla="*/ 31 w 245"/>
                <a:gd name="T1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99">
                  <a:moveTo>
                    <a:pt x="148" y="99"/>
                  </a:moveTo>
                  <a:lnTo>
                    <a:pt x="244" y="99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99"/>
                  </a:lnTo>
                  <a:lnTo>
                    <a:pt x="31" y="99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2" name="Line 41">
              <a:extLst>
                <a:ext uri="{FF2B5EF4-FFF2-40B4-BE49-F238E27FC236}">
                  <a16:creationId xmlns:a16="http://schemas.microsoft.com/office/drawing/2014/main" id="{EE3F0B00-BB86-4FF6-8CF1-BE757EA1C5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3463" y="5075238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3" name="Line 42">
              <a:extLst>
                <a:ext uri="{FF2B5EF4-FFF2-40B4-BE49-F238E27FC236}">
                  <a16:creationId xmlns:a16="http://schemas.microsoft.com/office/drawing/2014/main" id="{D1DC041C-4D58-4EBA-BB4D-2698E670DD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13613" y="5075238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4" name="Freeform 43">
              <a:extLst>
                <a:ext uri="{FF2B5EF4-FFF2-40B4-BE49-F238E27FC236}">
                  <a16:creationId xmlns:a16="http://schemas.microsoft.com/office/drawing/2014/main" id="{AB07871A-9074-4F8A-81BF-0C8CDD793A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763" y="4956176"/>
              <a:ext cx="106363" cy="112713"/>
            </a:xfrm>
            <a:custGeom>
              <a:avLst/>
              <a:gdLst>
                <a:gd name="T0" fmla="*/ 48 w 67"/>
                <a:gd name="T1" fmla="*/ 71 h 71"/>
                <a:gd name="T2" fmla="*/ 67 w 67"/>
                <a:gd name="T3" fmla="*/ 71 h 71"/>
                <a:gd name="T4" fmla="*/ 67 w 67"/>
                <a:gd name="T5" fmla="*/ 42 h 71"/>
                <a:gd name="T6" fmla="*/ 67 w 67"/>
                <a:gd name="T7" fmla="*/ 34 h 71"/>
                <a:gd name="T8" fmla="*/ 52 w 67"/>
                <a:gd name="T9" fmla="*/ 0 h 71"/>
                <a:gd name="T10" fmla="*/ 0 w 67"/>
                <a:gd name="T11" fmla="*/ 0 h 71"/>
                <a:gd name="T12" fmla="*/ 0 w 67"/>
                <a:gd name="T13" fmla="*/ 71 h 71"/>
                <a:gd name="T14" fmla="*/ 18 w 67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71">
                  <a:moveTo>
                    <a:pt x="48" y="71"/>
                  </a:moveTo>
                  <a:lnTo>
                    <a:pt x="67" y="71"/>
                  </a:lnTo>
                  <a:lnTo>
                    <a:pt x="67" y="42"/>
                  </a:lnTo>
                  <a:lnTo>
                    <a:pt x="67" y="34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5" name="Oval 44">
              <a:extLst>
                <a:ext uri="{FF2B5EF4-FFF2-40B4-BE49-F238E27FC236}">
                  <a16:creationId xmlns:a16="http://schemas.microsoft.com/office/drawing/2014/main" id="{5A7645E5-2D66-4FE7-BCD9-B3A763B19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0163" y="5054601"/>
              <a:ext cx="53975" cy="55563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6D512D90-6D69-47E5-99FD-B270B512637E}"/>
              </a:ext>
            </a:extLst>
          </p:cNvPr>
          <p:cNvSpPr txBox="1"/>
          <p:nvPr/>
        </p:nvSpPr>
        <p:spPr>
          <a:xfrm>
            <a:off x="8098525" y="2925395"/>
            <a:ext cx="933848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38F07AA-9814-4E5D-91CC-E46CADB4F007}"/>
              </a:ext>
            </a:extLst>
          </p:cNvPr>
          <p:cNvGrpSpPr/>
          <p:nvPr/>
        </p:nvGrpSpPr>
        <p:grpSpPr>
          <a:xfrm>
            <a:off x="9202249" y="2165516"/>
            <a:ext cx="703263" cy="703263"/>
            <a:chOff x="8296275" y="4641851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98" name="Oval 11">
              <a:extLst>
                <a:ext uri="{FF2B5EF4-FFF2-40B4-BE49-F238E27FC236}">
                  <a16:creationId xmlns:a16="http://schemas.microsoft.com/office/drawing/2014/main" id="{610B49AD-8C4C-4111-8158-98CA8202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6275" y="4641851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9" name="Freeform 93">
              <a:extLst>
                <a:ext uri="{FF2B5EF4-FFF2-40B4-BE49-F238E27FC236}">
                  <a16:creationId xmlns:a16="http://schemas.microsoft.com/office/drawing/2014/main" id="{5BDAB1AC-F4DE-4621-B948-0799C7679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5" y="4770438"/>
              <a:ext cx="379413" cy="379413"/>
            </a:xfrm>
            <a:custGeom>
              <a:avLst/>
              <a:gdLst>
                <a:gd name="T0" fmla="*/ 239 w 239"/>
                <a:gd name="T1" fmla="*/ 239 h 239"/>
                <a:gd name="T2" fmla="*/ 239 w 239"/>
                <a:gd name="T3" fmla="*/ 55 h 239"/>
                <a:gd name="T4" fmla="*/ 116 w 239"/>
                <a:gd name="T5" fmla="*/ 0 h 239"/>
                <a:gd name="T6" fmla="*/ 0 w 239"/>
                <a:gd name="T7" fmla="*/ 55 h 239"/>
                <a:gd name="T8" fmla="*/ 0 w 239"/>
                <a:gd name="T9" fmla="*/ 239 h 239"/>
                <a:gd name="T10" fmla="*/ 239 w 239"/>
                <a:gd name="T11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239">
                  <a:moveTo>
                    <a:pt x="239" y="239"/>
                  </a:moveTo>
                  <a:lnTo>
                    <a:pt x="239" y="55"/>
                  </a:lnTo>
                  <a:lnTo>
                    <a:pt x="116" y="0"/>
                  </a:lnTo>
                  <a:lnTo>
                    <a:pt x="0" y="55"/>
                  </a:lnTo>
                  <a:lnTo>
                    <a:pt x="0" y="239"/>
                  </a:lnTo>
                  <a:lnTo>
                    <a:pt x="239" y="239"/>
                  </a:lnTo>
                  <a:close/>
                </a:path>
              </a:pathLst>
            </a:cu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Rectangle 94">
              <a:extLst>
                <a:ext uri="{FF2B5EF4-FFF2-40B4-BE49-F238E27FC236}">
                  <a16:creationId xmlns:a16="http://schemas.microsoft.com/office/drawing/2014/main" id="{E16B9B70-CCA3-422E-9D1D-F031EA131F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5076826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1" name="Rectangle 95">
              <a:extLst>
                <a:ext uri="{FF2B5EF4-FFF2-40B4-BE49-F238E27FC236}">
                  <a16:creationId xmlns:a16="http://schemas.microsoft.com/office/drawing/2014/main" id="{092995EF-3B07-4FE1-8BCA-9B9BC75EE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3463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2" name="Rectangle 96">
              <a:extLst>
                <a:ext uri="{FF2B5EF4-FFF2-40B4-BE49-F238E27FC236}">
                  <a16:creationId xmlns:a16="http://schemas.microsoft.com/office/drawing/2014/main" id="{7CCCB58F-860E-4AE7-8525-BDFDD421CF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3" name="Rectangle 97">
              <a:extLst>
                <a:ext uri="{FF2B5EF4-FFF2-40B4-BE49-F238E27FC236}">
                  <a16:creationId xmlns:a16="http://schemas.microsoft.com/office/drawing/2014/main" id="{2D2AE882-5D1E-4D78-BFA5-BB483F983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4994276"/>
              <a:ext cx="60325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Rectangle 98">
              <a:extLst>
                <a:ext uri="{FF2B5EF4-FFF2-40B4-BE49-F238E27FC236}">
                  <a16:creationId xmlns:a16="http://schemas.microsoft.com/office/drawing/2014/main" id="{5D03E048-059F-4015-9B02-064F91E90D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499427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5" name="Rectangle 99">
              <a:extLst>
                <a:ext uri="{FF2B5EF4-FFF2-40B4-BE49-F238E27FC236}">
                  <a16:creationId xmlns:a16="http://schemas.microsoft.com/office/drawing/2014/main" id="{69ED595D-6607-4910-8BA3-2D3C881F48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3463" y="499427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Rectangle 100">
              <a:extLst>
                <a:ext uri="{FF2B5EF4-FFF2-40B4-BE49-F238E27FC236}">
                  <a16:creationId xmlns:a16="http://schemas.microsoft.com/office/drawing/2014/main" id="{9B4965E1-FB6D-4545-9BD2-DCB69891BA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4911726"/>
              <a:ext cx="60325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7" name="Rectangle 101">
              <a:extLst>
                <a:ext uri="{FF2B5EF4-FFF2-40B4-BE49-F238E27FC236}">
                  <a16:creationId xmlns:a16="http://schemas.microsoft.com/office/drawing/2014/main" id="{3D919D22-7E20-451A-98FA-8C2A01C58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491172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Rectangle 102">
              <a:extLst>
                <a:ext uri="{FF2B5EF4-FFF2-40B4-BE49-F238E27FC236}">
                  <a16:creationId xmlns:a16="http://schemas.microsoft.com/office/drawing/2014/main" id="{81B0CDBC-076F-4532-BEDF-EE183F12A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37600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0C18D7E1-D21B-436A-B0FC-CF9A96DA2E21}"/>
              </a:ext>
            </a:extLst>
          </p:cNvPr>
          <p:cNvSpPr txBox="1"/>
          <p:nvPr/>
        </p:nvSpPr>
        <p:spPr>
          <a:xfrm>
            <a:off x="9077806" y="2918164"/>
            <a:ext cx="933848" cy="2493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reight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orwarder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DEEA008-5F5E-4C6E-BAA5-2FB90A8236B5}"/>
              </a:ext>
            </a:extLst>
          </p:cNvPr>
          <p:cNvSpPr txBox="1"/>
          <p:nvPr/>
        </p:nvSpPr>
        <p:spPr>
          <a:xfrm>
            <a:off x="10064262" y="2918164"/>
            <a:ext cx="933848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EC96CF69-3F2C-4017-8C1F-A84CD4726C13}"/>
              </a:ext>
            </a:extLst>
          </p:cNvPr>
          <p:cNvGrpSpPr/>
          <p:nvPr/>
        </p:nvGrpSpPr>
        <p:grpSpPr>
          <a:xfrm>
            <a:off x="10186351" y="2165516"/>
            <a:ext cx="703263" cy="703263"/>
            <a:chOff x="9486900" y="4652963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112" name="Oval 13">
              <a:extLst>
                <a:ext uri="{FF2B5EF4-FFF2-40B4-BE49-F238E27FC236}">
                  <a16:creationId xmlns:a16="http://schemas.microsoft.com/office/drawing/2014/main" id="{DF517B53-095C-49D7-9D31-560BEE4483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6900" y="4652963"/>
              <a:ext cx="703263" cy="703263"/>
            </a:xfrm>
            <a:prstGeom prst="ellips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3" name="Line 23">
              <a:extLst>
                <a:ext uri="{FF2B5EF4-FFF2-40B4-BE49-F238E27FC236}">
                  <a16:creationId xmlns:a16="http://schemas.microsoft.com/office/drawing/2014/main" id="{C1BC55E8-A744-4FA3-9651-FF1AAD22AC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72625" y="4983163"/>
              <a:ext cx="61913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4" name="Line 24">
              <a:extLst>
                <a:ext uri="{FF2B5EF4-FFF2-40B4-BE49-F238E27FC236}">
                  <a16:creationId xmlns:a16="http://schemas.microsoft.com/office/drawing/2014/main" id="{FFCF103F-CE5F-4AB5-94B8-8A0894A256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48813" y="4956176"/>
              <a:ext cx="85725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5" name="Oval 25">
              <a:extLst>
                <a:ext uri="{FF2B5EF4-FFF2-40B4-BE49-F238E27FC236}">
                  <a16:creationId xmlns:a16="http://schemas.microsoft.com/office/drawing/2014/main" id="{CB7897C1-FB93-470A-9C4A-C8E4A29A10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8825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6" name="Oval 26">
              <a:extLst>
                <a:ext uri="{FF2B5EF4-FFF2-40B4-BE49-F238E27FC236}">
                  <a16:creationId xmlns:a16="http://schemas.microsoft.com/office/drawing/2014/main" id="{5B3F425D-B3E4-45EC-9B90-F8186F2EC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17088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7" name="Oval 27">
              <a:extLst>
                <a:ext uri="{FF2B5EF4-FFF2-40B4-BE49-F238E27FC236}">
                  <a16:creationId xmlns:a16="http://schemas.microsoft.com/office/drawing/2014/main" id="{95866323-3F1A-4776-BED6-78CEFBFAC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8525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Freeform 28">
              <a:extLst>
                <a:ext uri="{FF2B5EF4-FFF2-40B4-BE49-F238E27FC236}">
                  <a16:creationId xmlns:a16="http://schemas.microsoft.com/office/drawing/2014/main" id="{99B1CA53-D0A6-473E-A9CA-F623ADA79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6013" y="4918076"/>
              <a:ext cx="36513" cy="22225"/>
            </a:xfrm>
            <a:custGeom>
              <a:avLst/>
              <a:gdLst>
                <a:gd name="T0" fmla="*/ 0 w 23"/>
                <a:gd name="T1" fmla="*/ 14 h 14"/>
                <a:gd name="T2" fmla="*/ 0 w 23"/>
                <a:gd name="T3" fmla="*/ 0 h 14"/>
                <a:gd name="T4" fmla="*/ 23 w 23"/>
                <a:gd name="T5" fmla="*/ 14 h 14"/>
                <a:gd name="T6" fmla="*/ 0 w 23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4">
                  <a:moveTo>
                    <a:pt x="0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6"/>
                    <a:pt x="23" y="14"/>
                    <a:pt x="23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9" name="Freeform 29">
              <a:extLst>
                <a:ext uri="{FF2B5EF4-FFF2-40B4-BE49-F238E27FC236}">
                  <a16:creationId xmlns:a16="http://schemas.microsoft.com/office/drawing/2014/main" id="{474A486A-6BD0-4F49-AAF2-000C89B63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13" y="4918076"/>
              <a:ext cx="390525" cy="157163"/>
            </a:xfrm>
            <a:custGeom>
              <a:avLst/>
              <a:gdLst>
                <a:gd name="T0" fmla="*/ 149 w 246"/>
                <a:gd name="T1" fmla="*/ 99 h 99"/>
                <a:gd name="T2" fmla="*/ 245 w 246"/>
                <a:gd name="T3" fmla="*/ 99 h 99"/>
                <a:gd name="T4" fmla="*/ 246 w 246"/>
                <a:gd name="T5" fmla="*/ 0 h 99"/>
                <a:gd name="T6" fmla="*/ 0 w 246"/>
                <a:gd name="T7" fmla="*/ 0 h 99"/>
                <a:gd name="T8" fmla="*/ 0 w 246"/>
                <a:gd name="T9" fmla="*/ 99 h 99"/>
                <a:gd name="T10" fmla="*/ 32 w 246"/>
                <a:gd name="T1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6" h="99">
                  <a:moveTo>
                    <a:pt x="149" y="99"/>
                  </a:moveTo>
                  <a:lnTo>
                    <a:pt x="245" y="99"/>
                  </a:lnTo>
                  <a:lnTo>
                    <a:pt x="246" y="0"/>
                  </a:lnTo>
                  <a:lnTo>
                    <a:pt x="0" y="0"/>
                  </a:lnTo>
                  <a:lnTo>
                    <a:pt x="0" y="99"/>
                  </a:lnTo>
                  <a:lnTo>
                    <a:pt x="32" y="99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0" name="Line 30">
              <a:extLst>
                <a:ext uri="{FF2B5EF4-FFF2-40B4-BE49-F238E27FC236}">
                  <a16:creationId xmlns:a16="http://schemas.microsoft.com/office/drawing/2014/main" id="{F39F3DD2-7F0F-44E7-B21C-7449C877BB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6300" y="5075238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1" name="Line 31">
              <a:extLst>
                <a:ext uri="{FF2B5EF4-FFF2-40B4-BE49-F238E27FC236}">
                  <a16:creationId xmlns:a16="http://schemas.microsoft.com/office/drawing/2014/main" id="{B5962CD9-2F5E-4C85-B020-3A507EA55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696450" y="5075238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2" name="Freeform 32">
              <a:extLst>
                <a:ext uri="{FF2B5EF4-FFF2-40B4-BE49-F238E27FC236}">
                  <a16:creationId xmlns:a16="http://schemas.microsoft.com/office/drawing/2014/main" id="{A8EE69D5-DA90-46D0-9077-1922C6590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4956176"/>
              <a:ext cx="107950" cy="112713"/>
            </a:xfrm>
            <a:custGeom>
              <a:avLst/>
              <a:gdLst>
                <a:gd name="T0" fmla="*/ 48 w 68"/>
                <a:gd name="T1" fmla="*/ 71 h 71"/>
                <a:gd name="T2" fmla="*/ 68 w 68"/>
                <a:gd name="T3" fmla="*/ 71 h 71"/>
                <a:gd name="T4" fmla="*/ 68 w 68"/>
                <a:gd name="T5" fmla="*/ 42 h 71"/>
                <a:gd name="T6" fmla="*/ 68 w 68"/>
                <a:gd name="T7" fmla="*/ 34 h 71"/>
                <a:gd name="T8" fmla="*/ 53 w 68"/>
                <a:gd name="T9" fmla="*/ 0 h 71"/>
                <a:gd name="T10" fmla="*/ 0 w 68"/>
                <a:gd name="T11" fmla="*/ 0 h 71"/>
                <a:gd name="T12" fmla="*/ 0 w 68"/>
                <a:gd name="T13" fmla="*/ 71 h 71"/>
                <a:gd name="T14" fmla="*/ 18 w 68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71">
                  <a:moveTo>
                    <a:pt x="48" y="71"/>
                  </a:moveTo>
                  <a:lnTo>
                    <a:pt x="68" y="71"/>
                  </a:lnTo>
                  <a:lnTo>
                    <a:pt x="68" y="42"/>
                  </a:lnTo>
                  <a:lnTo>
                    <a:pt x="68" y="34"/>
                  </a:lnTo>
                  <a:lnTo>
                    <a:pt x="53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3" name="Oval 33">
              <a:extLst>
                <a:ext uri="{FF2B5EF4-FFF2-40B4-BE49-F238E27FC236}">
                  <a16:creationId xmlns:a16="http://schemas.microsoft.com/office/drawing/2014/main" id="{C613E30E-2978-467A-A0B6-5E12FC6A94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0" y="5054601"/>
              <a:ext cx="55563" cy="55563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A37EFA22-5802-4F76-A65F-43DD0F6DB11B}"/>
              </a:ext>
            </a:extLst>
          </p:cNvPr>
          <p:cNvCxnSpPr/>
          <p:nvPr/>
        </p:nvCxnSpPr>
        <p:spPr>
          <a:xfrm>
            <a:off x="1063225" y="2517147"/>
            <a:ext cx="2809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F1D4A764-A8E6-4C54-8D0E-9302112B2CC4}"/>
              </a:ext>
            </a:extLst>
          </p:cNvPr>
          <p:cNvCxnSpPr>
            <a:stCxn id="24" idx="6"/>
            <a:endCxn id="8" idx="2"/>
          </p:cNvCxnSpPr>
          <p:nvPr/>
        </p:nvCxnSpPr>
        <p:spPr>
          <a:xfrm>
            <a:off x="1063225" y="2517148"/>
            <a:ext cx="2809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D5084498-749A-4E1C-AE00-507728524286}"/>
              </a:ext>
            </a:extLst>
          </p:cNvPr>
          <p:cNvCxnSpPr>
            <a:stCxn id="8" idx="6"/>
            <a:endCxn id="43" idx="2"/>
          </p:cNvCxnSpPr>
          <p:nvPr/>
        </p:nvCxnSpPr>
        <p:spPr>
          <a:xfrm>
            <a:off x="2047476" y="2517148"/>
            <a:ext cx="3012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C2C40A5C-FE5E-49AF-A69F-1BD578EE7141}"/>
              </a:ext>
            </a:extLst>
          </p:cNvPr>
          <p:cNvCxnSpPr>
            <a:stCxn id="43" idx="6"/>
            <a:endCxn id="33" idx="2"/>
          </p:cNvCxnSpPr>
          <p:nvPr/>
        </p:nvCxnSpPr>
        <p:spPr>
          <a:xfrm>
            <a:off x="3051962" y="2517148"/>
            <a:ext cx="3446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965E900-0956-495A-A91C-E4941CC8B215}"/>
              </a:ext>
            </a:extLst>
          </p:cNvPr>
          <p:cNvCxnSpPr>
            <a:stCxn id="33" idx="6"/>
            <a:endCxn id="60" idx="2"/>
          </p:cNvCxnSpPr>
          <p:nvPr/>
        </p:nvCxnSpPr>
        <p:spPr>
          <a:xfrm>
            <a:off x="4099883" y="2517148"/>
            <a:ext cx="22843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442AED21-A663-49DC-83D7-A2CEC99CA911}"/>
              </a:ext>
            </a:extLst>
          </p:cNvPr>
          <p:cNvCxnSpPr>
            <a:stCxn id="60" idx="6"/>
            <a:endCxn id="64" idx="2"/>
          </p:cNvCxnSpPr>
          <p:nvPr/>
        </p:nvCxnSpPr>
        <p:spPr>
          <a:xfrm>
            <a:off x="5029989" y="2517148"/>
            <a:ext cx="3121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6E3336CF-BABE-4F3E-9408-BCC503C4521E}"/>
              </a:ext>
            </a:extLst>
          </p:cNvPr>
          <p:cNvCxnSpPr>
            <a:stCxn id="64" idx="6"/>
            <a:endCxn id="56" idx="2"/>
          </p:cNvCxnSpPr>
          <p:nvPr/>
        </p:nvCxnSpPr>
        <p:spPr>
          <a:xfrm>
            <a:off x="6045420" y="2517148"/>
            <a:ext cx="2368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00665DA0-E802-46D5-8503-AB6525844A93}"/>
              </a:ext>
            </a:extLst>
          </p:cNvPr>
          <p:cNvCxnSpPr>
            <a:stCxn id="56" idx="6"/>
            <a:endCxn id="74" idx="2"/>
          </p:cNvCxnSpPr>
          <p:nvPr/>
        </p:nvCxnSpPr>
        <p:spPr>
          <a:xfrm>
            <a:off x="6983962" y="2517148"/>
            <a:ext cx="2628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AF0160F0-1FEB-455A-BFBB-860BE1CB8F23}"/>
              </a:ext>
            </a:extLst>
          </p:cNvPr>
          <p:cNvCxnSpPr>
            <a:stCxn id="74" idx="6"/>
            <a:endCxn id="84" idx="2"/>
          </p:cNvCxnSpPr>
          <p:nvPr/>
        </p:nvCxnSpPr>
        <p:spPr>
          <a:xfrm>
            <a:off x="7950105" y="2517148"/>
            <a:ext cx="2726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65571AD1-5FCF-436B-B07A-B982E72F4E14}"/>
              </a:ext>
            </a:extLst>
          </p:cNvPr>
          <p:cNvCxnSpPr>
            <a:stCxn id="84" idx="6"/>
            <a:endCxn id="98" idx="2"/>
          </p:cNvCxnSpPr>
          <p:nvPr/>
        </p:nvCxnSpPr>
        <p:spPr>
          <a:xfrm>
            <a:off x="8925992" y="2517148"/>
            <a:ext cx="27625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9A6A9828-7910-47AE-A52C-40B49401E608}"/>
              </a:ext>
            </a:extLst>
          </p:cNvPr>
          <p:cNvCxnSpPr>
            <a:stCxn id="98" idx="6"/>
            <a:endCxn id="112" idx="2"/>
          </p:cNvCxnSpPr>
          <p:nvPr/>
        </p:nvCxnSpPr>
        <p:spPr>
          <a:xfrm>
            <a:off x="9905512" y="2517148"/>
            <a:ext cx="2808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74D5413F-E492-491F-917B-C51666F654AF}"/>
              </a:ext>
            </a:extLst>
          </p:cNvPr>
          <p:cNvCxnSpPr>
            <a:stCxn id="112" idx="6"/>
            <a:endCxn id="5" idx="2"/>
          </p:cNvCxnSpPr>
          <p:nvPr/>
        </p:nvCxnSpPr>
        <p:spPr>
          <a:xfrm>
            <a:off x="10889614" y="2517148"/>
            <a:ext cx="2064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Cloud 124">
            <a:extLst>
              <a:ext uri="{FF2B5EF4-FFF2-40B4-BE49-F238E27FC236}">
                <a16:creationId xmlns:a16="http://schemas.microsoft.com/office/drawing/2014/main" id="{A78B4F1A-5FF5-46FB-BA3A-10983C816681}"/>
              </a:ext>
            </a:extLst>
          </p:cNvPr>
          <p:cNvSpPr/>
          <p:nvPr/>
        </p:nvSpPr>
        <p:spPr>
          <a:xfrm>
            <a:off x="965196" y="1112704"/>
            <a:ext cx="10130847" cy="2820313"/>
          </a:xfrm>
          <a:prstGeom prst="cloud">
            <a:avLst/>
          </a:prstGeom>
          <a:noFill/>
          <a:ln w="57150"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pic>
        <p:nvPicPr>
          <p:cNvPr id="138" name="Picture 13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20" y="6461924"/>
            <a:ext cx="962025" cy="283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3215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Title 160">
            <a:extLst>
              <a:ext uri="{FF2B5EF4-FFF2-40B4-BE49-F238E27FC236}">
                <a16:creationId xmlns:a16="http://schemas.microsoft.com/office/drawing/2014/main" id="{9D5D38B8-0227-4486-A789-14AD5028E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BE" dirty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A2E137B5-DA8A-4237-B587-B300B594CE6E}"/>
              </a:ext>
            </a:extLst>
          </p:cNvPr>
          <p:cNvSpPr/>
          <p:nvPr/>
        </p:nvSpPr>
        <p:spPr>
          <a:xfrm>
            <a:off x="2692775" y="5130430"/>
            <a:ext cx="675783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Nallian offers a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loud-based data sharing solutions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that help networks of logistic partners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68EE0"/>
                </a:solidFill>
                <a:effectLst/>
                <a:uLnTx/>
                <a:uFillTx/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collaborat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 and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68EE0"/>
                </a:solidFill>
                <a:effectLst/>
                <a:uLnTx/>
                <a:uFillTx/>
                <a:latin typeface="Open Sans" panose="020B0604020202020204" charset="0"/>
                <a:ea typeface="Open Sans" panose="020B0604020202020204" charset="0"/>
                <a:cs typeface="Open Sans" panose="020B0604020202020204" charset="0"/>
              </a:rPr>
              <a:t>operate as one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D87BB8B-6858-42EC-B72A-AF10D2228431}"/>
              </a:ext>
            </a:extLst>
          </p:cNvPr>
          <p:cNvGrpSpPr/>
          <p:nvPr/>
        </p:nvGrpSpPr>
        <p:grpSpPr>
          <a:xfrm>
            <a:off x="2974299" y="987386"/>
            <a:ext cx="6032764" cy="3235127"/>
            <a:chOff x="2142917" y="1493841"/>
            <a:chExt cx="7295289" cy="3889321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EEC4C9B3-9D29-4D45-8B02-E8744A26B15C}"/>
                </a:ext>
              </a:extLst>
            </p:cNvPr>
            <p:cNvGrpSpPr/>
            <p:nvPr/>
          </p:nvGrpSpPr>
          <p:grpSpPr>
            <a:xfrm>
              <a:off x="3636703" y="4603609"/>
              <a:ext cx="724675" cy="625986"/>
              <a:chOff x="6242663" y="1916832"/>
              <a:chExt cx="724675" cy="625986"/>
            </a:xfrm>
          </p:grpSpPr>
          <p:sp>
            <p:nvSpPr>
              <p:cNvPr id="152" name="Rectangle 151">
                <a:extLst>
                  <a:ext uri="{FF2B5EF4-FFF2-40B4-BE49-F238E27FC236}">
                    <a16:creationId xmlns:a16="http://schemas.microsoft.com/office/drawing/2014/main" id="{C2A20855-E02D-4037-826C-98F3E49E3F99}"/>
                  </a:ext>
                </a:extLst>
              </p:cNvPr>
              <p:cNvSpPr/>
              <p:nvPr/>
            </p:nvSpPr>
            <p:spPr>
              <a:xfrm>
                <a:off x="6425838" y="1916832"/>
                <a:ext cx="541500" cy="62583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3" name="Rectangle 152">
                <a:extLst>
                  <a:ext uri="{FF2B5EF4-FFF2-40B4-BE49-F238E27FC236}">
                    <a16:creationId xmlns:a16="http://schemas.microsoft.com/office/drawing/2014/main" id="{E8102B84-9B0E-4C35-B49B-6C3187B39639}"/>
                  </a:ext>
                </a:extLst>
              </p:cNvPr>
              <p:cNvSpPr/>
              <p:nvPr/>
            </p:nvSpPr>
            <p:spPr>
              <a:xfrm>
                <a:off x="6606733" y="2392283"/>
                <a:ext cx="179711" cy="150535"/>
              </a:xfrm>
              <a:prstGeom prst="rect">
                <a:avLst/>
              </a:prstGeom>
              <a:solidFill>
                <a:schemeClr val="bg1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4" name="Rectangle 153">
                <a:extLst>
                  <a:ext uri="{FF2B5EF4-FFF2-40B4-BE49-F238E27FC236}">
                    <a16:creationId xmlns:a16="http://schemas.microsoft.com/office/drawing/2014/main" id="{E6835B1B-0F2B-473F-8BEA-25E81B6F5FF2}"/>
                  </a:ext>
                </a:extLst>
              </p:cNvPr>
              <p:cNvSpPr/>
              <p:nvPr/>
            </p:nvSpPr>
            <p:spPr>
              <a:xfrm>
                <a:off x="6242663" y="2061380"/>
                <a:ext cx="183175" cy="481272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55" name="Group 154">
                <a:extLst>
                  <a:ext uri="{FF2B5EF4-FFF2-40B4-BE49-F238E27FC236}">
                    <a16:creationId xmlns:a16="http://schemas.microsoft.com/office/drawing/2014/main" id="{B6A500FD-40F2-4FF6-BE91-FB178425D442}"/>
                  </a:ext>
                </a:extLst>
              </p:cNvPr>
              <p:cNvGrpSpPr/>
              <p:nvPr/>
            </p:nvGrpSpPr>
            <p:grpSpPr>
              <a:xfrm>
                <a:off x="6496351" y="2016000"/>
                <a:ext cx="400475" cy="260872"/>
                <a:chOff x="6487613" y="2016000"/>
                <a:chExt cx="400475" cy="260872"/>
              </a:xfrm>
            </p:grpSpPr>
            <p:cxnSp>
              <p:nvCxnSpPr>
                <p:cNvPr id="156" name="Straight Connector 155">
                  <a:extLst>
                    <a:ext uri="{FF2B5EF4-FFF2-40B4-BE49-F238E27FC236}">
                      <a16:creationId xmlns:a16="http://schemas.microsoft.com/office/drawing/2014/main" id="{AE6BEB66-8741-47FE-9966-EE76457896C2}"/>
                    </a:ext>
                  </a:extLst>
                </p:cNvPr>
                <p:cNvCxnSpPr/>
                <p:nvPr/>
              </p:nvCxnSpPr>
              <p:spPr>
                <a:xfrm>
                  <a:off x="6487613" y="2276872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7" name="Straight Connector 156">
                  <a:extLst>
                    <a:ext uri="{FF2B5EF4-FFF2-40B4-BE49-F238E27FC236}">
                      <a16:creationId xmlns:a16="http://schemas.microsoft.com/office/drawing/2014/main" id="{FA8EF3AD-5243-4EC9-A955-55722136E842}"/>
                    </a:ext>
                  </a:extLst>
                </p:cNvPr>
                <p:cNvCxnSpPr/>
                <p:nvPr/>
              </p:nvCxnSpPr>
              <p:spPr>
                <a:xfrm>
                  <a:off x="6487613" y="2189914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8" name="Straight Connector 157">
                  <a:extLst>
                    <a:ext uri="{FF2B5EF4-FFF2-40B4-BE49-F238E27FC236}">
                      <a16:creationId xmlns:a16="http://schemas.microsoft.com/office/drawing/2014/main" id="{E6698C92-6812-4C31-8843-2E830EA77EFE}"/>
                    </a:ext>
                  </a:extLst>
                </p:cNvPr>
                <p:cNvCxnSpPr/>
                <p:nvPr/>
              </p:nvCxnSpPr>
              <p:spPr>
                <a:xfrm>
                  <a:off x="6487613" y="2102957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9" name="Straight Connector 158">
                  <a:extLst>
                    <a:ext uri="{FF2B5EF4-FFF2-40B4-BE49-F238E27FC236}">
                      <a16:creationId xmlns:a16="http://schemas.microsoft.com/office/drawing/2014/main" id="{494DC54B-2747-4A7E-BABB-57289856943C}"/>
                    </a:ext>
                  </a:extLst>
                </p:cNvPr>
                <p:cNvCxnSpPr/>
                <p:nvPr/>
              </p:nvCxnSpPr>
              <p:spPr>
                <a:xfrm>
                  <a:off x="6487613" y="2016000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14697C42-E9E1-4ABD-814A-32ACADA50420}"/>
                </a:ext>
              </a:extLst>
            </p:cNvPr>
            <p:cNvGrpSpPr/>
            <p:nvPr/>
          </p:nvGrpSpPr>
          <p:grpSpPr>
            <a:xfrm>
              <a:off x="2468181" y="3395645"/>
              <a:ext cx="724675" cy="625986"/>
              <a:chOff x="6242663" y="1916832"/>
              <a:chExt cx="724675" cy="625986"/>
            </a:xfrm>
          </p:grpSpPr>
          <p:sp>
            <p:nvSpPr>
              <p:cNvPr id="144" name="Rectangle 143">
                <a:extLst>
                  <a:ext uri="{FF2B5EF4-FFF2-40B4-BE49-F238E27FC236}">
                    <a16:creationId xmlns:a16="http://schemas.microsoft.com/office/drawing/2014/main" id="{6B45ED60-A503-44F9-B781-E039FDFC9060}"/>
                  </a:ext>
                </a:extLst>
              </p:cNvPr>
              <p:cNvSpPr/>
              <p:nvPr/>
            </p:nvSpPr>
            <p:spPr>
              <a:xfrm>
                <a:off x="6425838" y="1916832"/>
                <a:ext cx="541500" cy="62583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5" name="Rectangle 144">
                <a:extLst>
                  <a:ext uri="{FF2B5EF4-FFF2-40B4-BE49-F238E27FC236}">
                    <a16:creationId xmlns:a16="http://schemas.microsoft.com/office/drawing/2014/main" id="{2E58FF82-A570-4488-A9E4-F59C60A100DB}"/>
                  </a:ext>
                </a:extLst>
              </p:cNvPr>
              <p:cNvSpPr/>
              <p:nvPr/>
            </p:nvSpPr>
            <p:spPr>
              <a:xfrm>
                <a:off x="6606733" y="2392283"/>
                <a:ext cx="179711" cy="150535"/>
              </a:xfrm>
              <a:prstGeom prst="rect">
                <a:avLst/>
              </a:prstGeom>
              <a:solidFill>
                <a:schemeClr val="bg1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6" name="Rectangle 145">
                <a:extLst>
                  <a:ext uri="{FF2B5EF4-FFF2-40B4-BE49-F238E27FC236}">
                    <a16:creationId xmlns:a16="http://schemas.microsoft.com/office/drawing/2014/main" id="{76884A9F-01E1-4447-ADDC-DA568927AADB}"/>
                  </a:ext>
                </a:extLst>
              </p:cNvPr>
              <p:cNvSpPr/>
              <p:nvPr/>
            </p:nvSpPr>
            <p:spPr>
              <a:xfrm>
                <a:off x="6242663" y="2061380"/>
                <a:ext cx="183175" cy="481272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0E7A18EE-8D79-4F0E-A4F8-2F5791ED70EC}"/>
                  </a:ext>
                </a:extLst>
              </p:cNvPr>
              <p:cNvGrpSpPr/>
              <p:nvPr/>
            </p:nvGrpSpPr>
            <p:grpSpPr>
              <a:xfrm>
                <a:off x="6496351" y="2016000"/>
                <a:ext cx="400475" cy="260872"/>
                <a:chOff x="6487613" y="2016000"/>
                <a:chExt cx="400475" cy="260872"/>
              </a:xfrm>
            </p:grpSpPr>
            <p:cxnSp>
              <p:nvCxnSpPr>
                <p:cNvPr id="148" name="Straight Connector 147">
                  <a:extLst>
                    <a:ext uri="{FF2B5EF4-FFF2-40B4-BE49-F238E27FC236}">
                      <a16:creationId xmlns:a16="http://schemas.microsoft.com/office/drawing/2014/main" id="{3F94DEA1-F96B-4992-AB1E-BC26BC9ECEF7}"/>
                    </a:ext>
                  </a:extLst>
                </p:cNvPr>
                <p:cNvCxnSpPr/>
                <p:nvPr/>
              </p:nvCxnSpPr>
              <p:spPr>
                <a:xfrm>
                  <a:off x="6487613" y="2276872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9" name="Straight Connector 148">
                  <a:extLst>
                    <a:ext uri="{FF2B5EF4-FFF2-40B4-BE49-F238E27FC236}">
                      <a16:creationId xmlns:a16="http://schemas.microsoft.com/office/drawing/2014/main" id="{7DF6BF17-5579-4464-BDD2-719A1EE2F1A8}"/>
                    </a:ext>
                  </a:extLst>
                </p:cNvPr>
                <p:cNvCxnSpPr/>
                <p:nvPr/>
              </p:nvCxnSpPr>
              <p:spPr>
                <a:xfrm>
                  <a:off x="6487613" y="2189914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0" name="Straight Connector 149">
                  <a:extLst>
                    <a:ext uri="{FF2B5EF4-FFF2-40B4-BE49-F238E27FC236}">
                      <a16:creationId xmlns:a16="http://schemas.microsoft.com/office/drawing/2014/main" id="{068AA89B-E711-4D9A-95E7-1A1834DCF393}"/>
                    </a:ext>
                  </a:extLst>
                </p:cNvPr>
                <p:cNvCxnSpPr/>
                <p:nvPr/>
              </p:nvCxnSpPr>
              <p:spPr>
                <a:xfrm>
                  <a:off x="6487613" y="2102957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51" name="Straight Connector 150">
                  <a:extLst>
                    <a:ext uri="{FF2B5EF4-FFF2-40B4-BE49-F238E27FC236}">
                      <a16:creationId xmlns:a16="http://schemas.microsoft.com/office/drawing/2014/main" id="{8BB90B5E-247A-4F32-BC37-641D48DE3DE8}"/>
                    </a:ext>
                  </a:extLst>
                </p:cNvPr>
                <p:cNvCxnSpPr/>
                <p:nvPr/>
              </p:nvCxnSpPr>
              <p:spPr>
                <a:xfrm>
                  <a:off x="6487613" y="2016000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6E3D6508-DACE-4A9B-A268-74293C76AF3C}"/>
                </a:ext>
              </a:extLst>
            </p:cNvPr>
            <p:cNvGrpSpPr/>
            <p:nvPr/>
          </p:nvGrpSpPr>
          <p:grpSpPr>
            <a:xfrm>
              <a:off x="3088118" y="3811932"/>
              <a:ext cx="363278" cy="415147"/>
              <a:chOff x="3216275" y="836612"/>
              <a:chExt cx="2592389" cy="3455987"/>
            </a:xfrm>
            <a:solidFill>
              <a:schemeClr val="bg1"/>
            </a:solidFill>
          </p:grpSpPr>
          <p:sp>
            <p:nvSpPr>
              <p:cNvPr id="141" name="Can 139">
                <a:extLst>
                  <a:ext uri="{FF2B5EF4-FFF2-40B4-BE49-F238E27FC236}">
                    <a16:creationId xmlns:a16="http://schemas.microsoft.com/office/drawing/2014/main" id="{99E2AC9F-10C0-421F-BFCF-D999BC482ADB}"/>
                  </a:ext>
                </a:extLst>
              </p:cNvPr>
              <p:cNvSpPr/>
              <p:nvPr/>
            </p:nvSpPr>
            <p:spPr>
              <a:xfrm>
                <a:off x="3216276" y="836612"/>
                <a:ext cx="2592388" cy="3455987"/>
              </a:xfrm>
              <a:prstGeom prst="can">
                <a:avLst>
                  <a:gd name="adj" fmla="val 29149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2" name="Arc 141">
                <a:extLst>
                  <a:ext uri="{FF2B5EF4-FFF2-40B4-BE49-F238E27FC236}">
                    <a16:creationId xmlns:a16="http://schemas.microsoft.com/office/drawing/2014/main" id="{8FFDF9F4-25BC-42F9-A7A2-B02A64A166DE}"/>
                  </a:ext>
                </a:extLst>
              </p:cNvPr>
              <p:cNvSpPr/>
              <p:nvPr/>
            </p:nvSpPr>
            <p:spPr>
              <a:xfrm flipV="1">
                <a:off x="3216276" y="1700210"/>
                <a:ext cx="2592388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43" name="Arc 142">
                <a:extLst>
                  <a:ext uri="{FF2B5EF4-FFF2-40B4-BE49-F238E27FC236}">
                    <a16:creationId xmlns:a16="http://schemas.microsoft.com/office/drawing/2014/main" id="{D6948FB6-667A-44A1-BEFB-890FE46651D4}"/>
                  </a:ext>
                </a:extLst>
              </p:cNvPr>
              <p:cNvSpPr/>
              <p:nvPr/>
            </p:nvSpPr>
            <p:spPr>
              <a:xfrm flipV="1">
                <a:off x="3216275" y="2563807"/>
                <a:ext cx="2591593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B5F96274-E8D1-4206-9EAD-E265B6AF3C9D}"/>
                </a:ext>
              </a:extLst>
            </p:cNvPr>
            <p:cNvGrpSpPr/>
            <p:nvPr/>
          </p:nvGrpSpPr>
          <p:grpSpPr>
            <a:xfrm>
              <a:off x="3437284" y="2132001"/>
              <a:ext cx="724675" cy="625986"/>
              <a:chOff x="6242663" y="1916832"/>
              <a:chExt cx="724675" cy="625986"/>
            </a:xfrm>
          </p:grpSpPr>
          <p:sp>
            <p:nvSpPr>
              <p:cNvPr id="133" name="Rectangle 132">
                <a:extLst>
                  <a:ext uri="{FF2B5EF4-FFF2-40B4-BE49-F238E27FC236}">
                    <a16:creationId xmlns:a16="http://schemas.microsoft.com/office/drawing/2014/main" id="{2EB7F74B-34F2-4795-9260-CDD9ADFAF09F}"/>
                  </a:ext>
                </a:extLst>
              </p:cNvPr>
              <p:cNvSpPr/>
              <p:nvPr/>
            </p:nvSpPr>
            <p:spPr>
              <a:xfrm>
                <a:off x="6425838" y="1916832"/>
                <a:ext cx="541500" cy="62583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4" name="Rectangle 133">
                <a:extLst>
                  <a:ext uri="{FF2B5EF4-FFF2-40B4-BE49-F238E27FC236}">
                    <a16:creationId xmlns:a16="http://schemas.microsoft.com/office/drawing/2014/main" id="{D296FBEA-7F71-4413-ACDD-C2F5B546D76D}"/>
                  </a:ext>
                </a:extLst>
              </p:cNvPr>
              <p:cNvSpPr/>
              <p:nvPr/>
            </p:nvSpPr>
            <p:spPr>
              <a:xfrm>
                <a:off x="6606733" y="2392283"/>
                <a:ext cx="179711" cy="150535"/>
              </a:xfrm>
              <a:prstGeom prst="rect">
                <a:avLst/>
              </a:prstGeom>
              <a:solidFill>
                <a:schemeClr val="bg1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5" name="Rectangle 134">
                <a:extLst>
                  <a:ext uri="{FF2B5EF4-FFF2-40B4-BE49-F238E27FC236}">
                    <a16:creationId xmlns:a16="http://schemas.microsoft.com/office/drawing/2014/main" id="{BE4E605D-A367-46B4-9859-8F982DDF5B2C}"/>
                  </a:ext>
                </a:extLst>
              </p:cNvPr>
              <p:cNvSpPr/>
              <p:nvPr/>
            </p:nvSpPr>
            <p:spPr>
              <a:xfrm>
                <a:off x="6242663" y="2061380"/>
                <a:ext cx="183175" cy="481272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36" name="Group 135">
                <a:extLst>
                  <a:ext uri="{FF2B5EF4-FFF2-40B4-BE49-F238E27FC236}">
                    <a16:creationId xmlns:a16="http://schemas.microsoft.com/office/drawing/2014/main" id="{F05DCD81-E6AB-4547-8602-E8D0E1801BA3}"/>
                  </a:ext>
                </a:extLst>
              </p:cNvPr>
              <p:cNvGrpSpPr/>
              <p:nvPr/>
            </p:nvGrpSpPr>
            <p:grpSpPr>
              <a:xfrm>
                <a:off x="6496351" y="2016000"/>
                <a:ext cx="400475" cy="260872"/>
                <a:chOff x="6487613" y="2016000"/>
                <a:chExt cx="400475" cy="260872"/>
              </a:xfrm>
            </p:grpSpPr>
            <p:cxnSp>
              <p:nvCxnSpPr>
                <p:cNvPr id="137" name="Straight Connector 136">
                  <a:extLst>
                    <a:ext uri="{FF2B5EF4-FFF2-40B4-BE49-F238E27FC236}">
                      <a16:creationId xmlns:a16="http://schemas.microsoft.com/office/drawing/2014/main" id="{F939E130-0078-4A69-9E71-22B2403003BC}"/>
                    </a:ext>
                  </a:extLst>
                </p:cNvPr>
                <p:cNvCxnSpPr/>
                <p:nvPr/>
              </p:nvCxnSpPr>
              <p:spPr>
                <a:xfrm>
                  <a:off x="6487613" y="2276872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8" name="Straight Connector 137">
                  <a:extLst>
                    <a:ext uri="{FF2B5EF4-FFF2-40B4-BE49-F238E27FC236}">
                      <a16:creationId xmlns:a16="http://schemas.microsoft.com/office/drawing/2014/main" id="{D4D6BEDE-F95B-4160-815F-BDD1628389D0}"/>
                    </a:ext>
                  </a:extLst>
                </p:cNvPr>
                <p:cNvCxnSpPr/>
                <p:nvPr/>
              </p:nvCxnSpPr>
              <p:spPr>
                <a:xfrm>
                  <a:off x="6487613" y="2189914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39" name="Straight Connector 138">
                  <a:extLst>
                    <a:ext uri="{FF2B5EF4-FFF2-40B4-BE49-F238E27FC236}">
                      <a16:creationId xmlns:a16="http://schemas.microsoft.com/office/drawing/2014/main" id="{8244E251-50FE-4E64-904C-7F6F6398DFB0}"/>
                    </a:ext>
                  </a:extLst>
                </p:cNvPr>
                <p:cNvCxnSpPr/>
                <p:nvPr/>
              </p:nvCxnSpPr>
              <p:spPr>
                <a:xfrm>
                  <a:off x="6487613" y="2102957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40" name="Straight Connector 139">
                  <a:extLst>
                    <a:ext uri="{FF2B5EF4-FFF2-40B4-BE49-F238E27FC236}">
                      <a16:creationId xmlns:a16="http://schemas.microsoft.com/office/drawing/2014/main" id="{4A65F991-42CE-4D1B-8111-3E0BA468E1CF}"/>
                    </a:ext>
                  </a:extLst>
                </p:cNvPr>
                <p:cNvCxnSpPr/>
                <p:nvPr/>
              </p:nvCxnSpPr>
              <p:spPr>
                <a:xfrm>
                  <a:off x="6487613" y="2016000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C58554B0-A9FF-45F7-B5BC-561D4FB1137A}"/>
                </a:ext>
              </a:extLst>
            </p:cNvPr>
            <p:cNvGrpSpPr/>
            <p:nvPr/>
          </p:nvGrpSpPr>
          <p:grpSpPr>
            <a:xfrm>
              <a:off x="4057221" y="2548288"/>
              <a:ext cx="363278" cy="415147"/>
              <a:chOff x="3216275" y="836612"/>
              <a:chExt cx="2592389" cy="3455987"/>
            </a:xfrm>
            <a:solidFill>
              <a:schemeClr val="bg1"/>
            </a:solidFill>
          </p:grpSpPr>
          <p:sp>
            <p:nvSpPr>
              <p:cNvPr id="130" name="Can 128">
                <a:extLst>
                  <a:ext uri="{FF2B5EF4-FFF2-40B4-BE49-F238E27FC236}">
                    <a16:creationId xmlns:a16="http://schemas.microsoft.com/office/drawing/2014/main" id="{7E1DB834-36C0-435C-960B-38292877890C}"/>
                  </a:ext>
                </a:extLst>
              </p:cNvPr>
              <p:cNvSpPr/>
              <p:nvPr/>
            </p:nvSpPr>
            <p:spPr>
              <a:xfrm>
                <a:off x="3216276" y="836612"/>
                <a:ext cx="2592388" cy="3455987"/>
              </a:xfrm>
              <a:prstGeom prst="can">
                <a:avLst>
                  <a:gd name="adj" fmla="val 29149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1" name="Arc 130">
                <a:extLst>
                  <a:ext uri="{FF2B5EF4-FFF2-40B4-BE49-F238E27FC236}">
                    <a16:creationId xmlns:a16="http://schemas.microsoft.com/office/drawing/2014/main" id="{B334D05A-0E9E-485B-946A-4C548A37883A}"/>
                  </a:ext>
                </a:extLst>
              </p:cNvPr>
              <p:cNvSpPr/>
              <p:nvPr/>
            </p:nvSpPr>
            <p:spPr>
              <a:xfrm flipV="1">
                <a:off x="3216276" y="1700210"/>
                <a:ext cx="2592388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32" name="Arc 131">
                <a:extLst>
                  <a:ext uri="{FF2B5EF4-FFF2-40B4-BE49-F238E27FC236}">
                    <a16:creationId xmlns:a16="http://schemas.microsoft.com/office/drawing/2014/main" id="{4E42E214-9AED-4B21-8C2A-AA25405CDEA2}"/>
                  </a:ext>
                </a:extLst>
              </p:cNvPr>
              <p:cNvSpPr/>
              <p:nvPr/>
            </p:nvSpPr>
            <p:spPr>
              <a:xfrm flipV="1">
                <a:off x="3216275" y="2563807"/>
                <a:ext cx="2591593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10323E75-4FC0-49D8-A2AD-7785BB0588EF}"/>
                </a:ext>
              </a:extLst>
            </p:cNvPr>
            <p:cNvGrpSpPr/>
            <p:nvPr/>
          </p:nvGrpSpPr>
          <p:grpSpPr>
            <a:xfrm>
              <a:off x="7769184" y="2117061"/>
              <a:ext cx="724675" cy="625986"/>
              <a:chOff x="6242663" y="1916832"/>
              <a:chExt cx="724675" cy="625986"/>
            </a:xfrm>
          </p:grpSpPr>
          <p:sp>
            <p:nvSpPr>
              <p:cNvPr id="122" name="Rectangle 121">
                <a:extLst>
                  <a:ext uri="{FF2B5EF4-FFF2-40B4-BE49-F238E27FC236}">
                    <a16:creationId xmlns:a16="http://schemas.microsoft.com/office/drawing/2014/main" id="{FD69531F-4602-4EBA-8D17-E8FE750E6514}"/>
                  </a:ext>
                </a:extLst>
              </p:cNvPr>
              <p:cNvSpPr/>
              <p:nvPr/>
            </p:nvSpPr>
            <p:spPr>
              <a:xfrm>
                <a:off x="6425838" y="1916832"/>
                <a:ext cx="541500" cy="62583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3" name="Rectangle 122">
                <a:extLst>
                  <a:ext uri="{FF2B5EF4-FFF2-40B4-BE49-F238E27FC236}">
                    <a16:creationId xmlns:a16="http://schemas.microsoft.com/office/drawing/2014/main" id="{D33A854F-5E5B-4710-B3CD-3330BC98E3E7}"/>
                  </a:ext>
                </a:extLst>
              </p:cNvPr>
              <p:cNvSpPr/>
              <p:nvPr/>
            </p:nvSpPr>
            <p:spPr>
              <a:xfrm>
                <a:off x="6606733" y="2392283"/>
                <a:ext cx="179711" cy="150535"/>
              </a:xfrm>
              <a:prstGeom prst="rect">
                <a:avLst/>
              </a:prstGeom>
              <a:solidFill>
                <a:schemeClr val="bg1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4" name="Rectangle 123">
                <a:extLst>
                  <a:ext uri="{FF2B5EF4-FFF2-40B4-BE49-F238E27FC236}">
                    <a16:creationId xmlns:a16="http://schemas.microsoft.com/office/drawing/2014/main" id="{04AD6F06-58C2-4045-849D-BC5508903376}"/>
                  </a:ext>
                </a:extLst>
              </p:cNvPr>
              <p:cNvSpPr/>
              <p:nvPr/>
            </p:nvSpPr>
            <p:spPr>
              <a:xfrm>
                <a:off x="6242663" y="2061380"/>
                <a:ext cx="183175" cy="481272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25" name="Group 124">
                <a:extLst>
                  <a:ext uri="{FF2B5EF4-FFF2-40B4-BE49-F238E27FC236}">
                    <a16:creationId xmlns:a16="http://schemas.microsoft.com/office/drawing/2014/main" id="{A74E2171-A46F-459F-ACCB-B3975296AA06}"/>
                  </a:ext>
                </a:extLst>
              </p:cNvPr>
              <p:cNvGrpSpPr/>
              <p:nvPr/>
            </p:nvGrpSpPr>
            <p:grpSpPr>
              <a:xfrm>
                <a:off x="6496351" y="2016000"/>
                <a:ext cx="400475" cy="260872"/>
                <a:chOff x="6487613" y="2016000"/>
                <a:chExt cx="400475" cy="260872"/>
              </a:xfrm>
            </p:grpSpPr>
            <p:cxnSp>
              <p:nvCxnSpPr>
                <p:cNvPr id="126" name="Straight Connector 125">
                  <a:extLst>
                    <a:ext uri="{FF2B5EF4-FFF2-40B4-BE49-F238E27FC236}">
                      <a16:creationId xmlns:a16="http://schemas.microsoft.com/office/drawing/2014/main" id="{24B5D87D-F92C-461F-95B5-BCBCC3E683EB}"/>
                    </a:ext>
                  </a:extLst>
                </p:cNvPr>
                <p:cNvCxnSpPr/>
                <p:nvPr/>
              </p:nvCxnSpPr>
              <p:spPr>
                <a:xfrm>
                  <a:off x="6487613" y="2276872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7" name="Straight Connector 126">
                  <a:extLst>
                    <a:ext uri="{FF2B5EF4-FFF2-40B4-BE49-F238E27FC236}">
                      <a16:creationId xmlns:a16="http://schemas.microsoft.com/office/drawing/2014/main" id="{B8AD6271-C0EF-4322-A94D-B997CAC00636}"/>
                    </a:ext>
                  </a:extLst>
                </p:cNvPr>
                <p:cNvCxnSpPr/>
                <p:nvPr/>
              </p:nvCxnSpPr>
              <p:spPr>
                <a:xfrm>
                  <a:off x="6487613" y="2189914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8" name="Straight Connector 127">
                  <a:extLst>
                    <a:ext uri="{FF2B5EF4-FFF2-40B4-BE49-F238E27FC236}">
                      <a16:creationId xmlns:a16="http://schemas.microsoft.com/office/drawing/2014/main" id="{1FC5562C-9695-4F7E-B291-9874D4F5CF41}"/>
                    </a:ext>
                  </a:extLst>
                </p:cNvPr>
                <p:cNvCxnSpPr/>
                <p:nvPr/>
              </p:nvCxnSpPr>
              <p:spPr>
                <a:xfrm>
                  <a:off x="6487613" y="2102957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29" name="Straight Connector 128">
                  <a:extLst>
                    <a:ext uri="{FF2B5EF4-FFF2-40B4-BE49-F238E27FC236}">
                      <a16:creationId xmlns:a16="http://schemas.microsoft.com/office/drawing/2014/main" id="{5F18068F-EE56-41A1-8FF1-BE13CC8CB15A}"/>
                    </a:ext>
                  </a:extLst>
                </p:cNvPr>
                <p:cNvCxnSpPr/>
                <p:nvPr/>
              </p:nvCxnSpPr>
              <p:spPr>
                <a:xfrm>
                  <a:off x="6487613" y="2016000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C6EFEE54-6ABF-42F9-9285-49B126A25061}"/>
                </a:ext>
              </a:extLst>
            </p:cNvPr>
            <p:cNvGrpSpPr/>
            <p:nvPr/>
          </p:nvGrpSpPr>
          <p:grpSpPr>
            <a:xfrm>
              <a:off x="7509444" y="2533348"/>
              <a:ext cx="363278" cy="415147"/>
              <a:chOff x="3216275" y="836612"/>
              <a:chExt cx="2592389" cy="3455987"/>
            </a:xfrm>
            <a:solidFill>
              <a:schemeClr val="bg1"/>
            </a:solidFill>
          </p:grpSpPr>
          <p:sp>
            <p:nvSpPr>
              <p:cNvPr id="119" name="Can 117">
                <a:extLst>
                  <a:ext uri="{FF2B5EF4-FFF2-40B4-BE49-F238E27FC236}">
                    <a16:creationId xmlns:a16="http://schemas.microsoft.com/office/drawing/2014/main" id="{D81CCC9E-495A-4CF6-8E43-6B6E22E54589}"/>
                  </a:ext>
                </a:extLst>
              </p:cNvPr>
              <p:cNvSpPr/>
              <p:nvPr/>
            </p:nvSpPr>
            <p:spPr>
              <a:xfrm>
                <a:off x="3216276" y="836612"/>
                <a:ext cx="2592388" cy="3455987"/>
              </a:xfrm>
              <a:prstGeom prst="can">
                <a:avLst>
                  <a:gd name="adj" fmla="val 29149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0" name="Arc 119">
                <a:extLst>
                  <a:ext uri="{FF2B5EF4-FFF2-40B4-BE49-F238E27FC236}">
                    <a16:creationId xmlns:a16="http://schemas.microsoft.com/office/drawing/2014/main" id="{FC313FF1-C646-4683-84C0-DA5E7063185A}"/>
                  </a:ext>
                </a:extLst>
              </p:cNvPr>
              <p:cNvSpPr/>
              <p:nvPr/>
            </p:nvSpPr>
            <p:spPr>
              <a:xfrm flipV="1">
                <a:off x="3216276" y="1700210"/>
                <a:ext cx="2592388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21" name="Arc 120">
                <a:extLst>
                  <a:ext uri="{FF2B5EF4-FFF2-40B4-BE49-F238E27FC236}">
                    <a16:creationId xmlns:a16="http://schemas.microsoft.com/office/drawing/2014/main" id="{4D6B2628-2C0E-4D11-A51F-C9C6FE9FCF32}"/>
                  </a:ext>
                </a:extLst>
              </p:cNvPr>
              <p:cNvSpPr/>
              <p:nvPr/>
            </p:nvSpPr>
            <p:spPr>
              <a:xfrm flipV="1">
                <a:off x="3216275" y="2563807"/>
                <a:ext cx="2591593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CCF6E751-0DDD-4AAF-9821-6585A4104E11}"/>
                </a:ext>
              </a:extLst>
            </p:cNvPr>
            <p:cNvGrpSpPr/>
            <p:nvPr/>
          </p:nvGrpSpPr>
          <p:grpSpPr>
            <a:xfrm>
              <a:off x="8713531" y="3397511"/>
              <a:ext cx="724675" cy="625986"/>
              <a:chOff x="6242663" y="1916832"/>
              <a:chExt cx="724675" cy="625986"/>
            </a:xfrm>
          </p:grpSpPr>
          <p:sp>
            <p:nvSpPr>
              <p:cNvPr id="111" name="Rectangle 110">
                <a:extLst>
                  <a:ext uri="{FF2B5EF4-FFF2-40B4-BE49-F238E27FC236}">
                    <a16:creationId xmlns:a16="http://schemas.microsoft.com/office/drawing/2014/main" id="{B80448BD-E168-4D54-8823-BBA8E38A3873}"/>
                  </a:ext>
                </a:extLst>
              </p:cNvPr>
              <p:cNvSpPr/>
              <p:nvPr/>
            </p:nvSpPr>
            <p:spPr>
              <a:xfrm>
                <a:off x="6425838" y="1916832"/>
                <a:ext cx="541500" cy="62583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" name="Rectangle 111">
                <a:extLst>
                  <a:ext uri="{FF2B5EF4-FFF2-40B4-BE49-F238E27FC236}">
                    <a16:creationId xmlns:a16="http://schemas.microsoft.com/office/drawing/2014/main" id="{AB5E87E5-82D7-47A1-AD98-FE2FC608D223}"/>
                  </a:ext>
                </a:extLst>
              </p:cNvPr>
              <p:cNvSpPr/>
              <p:nvPr/>
            </p:nvSpPr>
            <p:spPr>
              <a:xfrm>
                <a:off x="6606733" y="2392283"/>
                <a:ext cx="179711" cy="150535"/>
              </a:xfrm>
              <a:prstGeom prst="rect">
                <a:avLst/>
              </a:prstGeom>
              <a:solidFill>
                <a:schemeClr val="bg1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3" name="Rectangle 112">
                <a:extLst>
                  <a:ext uri="{FF2B5EF4-FFF2-40B4-BE49-F238E27FC236}">
                    <a16:creationId xmlns:a16="http://schemas.microsoft.com/office/drawing/2014/main" id="{C7228C7E-322C-4FBB-9760-BF81DB74027D}"/>
                  </a:ext>
                </a:extLst>
              </p:cNvPr>
              <p:cNvSpPr/>
              <p:nvPr/>
            </p:nvSpPr>
            <p:spPr>
              <a:xfrm>
                <a:off x="6242663" y="2061380"/>
                <a:ext cx="183175" cy="481272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14" name="Group 113">
                <a:extLst>
                  <a:ext uri="{FF2B5EF4-FFF2-40B4-BE49-F238E27FC236}">
                    <a16:creationId xmlns:a16="http://schemas.microsoft.com/office/drawing/2014/main" id="{F65F7D32-CB90-4EE3-A180-DBDD1CFC4DB0}"/>
                  </a:ext>
                </a:extLst>
              </p:cNvPr>
              <p:cNvGrpSpPr/>
              <p:nvPr/>
            </p:nvGrpSpPr>
            <p:grpSpPr>
              <a:xfrm>
                <a:off x="6496351" y="2016000"/>
                <a:ext cx="400475" cy="260872"/>
                <a:chOff x="6487613" y="2016000"/>
                <a:chExt cx="400475" cy="260872"/>
              </a:xfrm>
            </p:grpSpPr>
            <p:cxnSp>
              <p:nvCxnSpPr>
                <p:cNvPr id="115" name="Straight Connector 114">
                  <a:extLst>
                    <a:ext uri="{FF2B5EF4-FFF2-40B4-BE49-F238E27FC236}">
                      <a16:creationId xmlns:a16="http://schemas.microsoft.com/office/drawing/2014/main" id="{E72F6C37-B83C-4AD5-AE11-3C461414CE10}"/>
                    </a:ext>
                  </a:extLst>
                </p:cNvPr>
                <p:cNvCxnSpPr/>
                <p:nvPr/>
              </p:nvCxnSpPr>
              <p:spPr>
                <a:xfrm>
                  <a:off x="6487613" y="2276872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6" name="Straight Connector 115">
                  <a:extLst>
                    <a:ext uri="{FF2B5EF4-FFF2-40B4-BE49-F238E27FC236}">
                      <a16:creationId xmlns:a16="http://schemas.microsoft.com/office/drawing/2014/main" id="{24BAE8C3-0383-4FDE-A9DE-172CA5CA4A42}"/>
                    </a:ext>
                  </a:extLst>
                </p:cNvPr>
                <p:cNvCxnSpPr/>
                <p:nvPr/>
              </p:nvCxnSpPr>
              <p:spPr>
                <a:xfrm>
                  <a:off x="6487613" y="2189914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7" name="Straight Connector 116">
                  <a:extLst>
                    <a:ext uri="{FF2B5EF4-FFF2-40B4-BE49-F238E27FC236}">
                      <a16:creationId xmlns:a16="http://schemas.microsoft.com/office/drawing/2014/main" id="{488C2983-25BA-40C2-BFA8-4C7A24A7E820}"/>
                    </a:ext>
                  </a:extLst>
                </p:cNvPr>
                <p:cNvCxnSpPr/>
                <p:nvPr/>
              </p:nvCxnSpPr>
              <p:spPr>
                <a:xfrm>
                  <a:off x="6487613" y="2102957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18" name="Straight Connector 117">
                  <a:extLst>
                    <a:ext uri="{FF2B5EF4-FFF2-40B4-BE49-F238E27FC236}">
                      <a16:creationId xmlns:a16="http://schemas.microsoft.com/office/drawing/2014/main" id="{3DAF0679-E392-4F30-8F11-5A27804FF688}"/>
                    </a:ext>
                  </a:extLst>
                </p:cNvPr>
                <p:cNvCxnSpPr/>
                <p:nvPr/>
              </p:nvCxnSpPr>
              <p:spPr>
                <a:xfrm>
                  <a:off x="6487613" y="2016000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0F400DB7-D635-4A2B-89CA-787CA0C6D297}"/>
                </a:ext>
              </a:extLst>
            </p:cNvPr>
            <p:cNvGrpSpPr/>
            <p:nvPr/>
          </p:nvGrpSpPr>
          <p:grpSpPr>
            <a:xfrm>
              <a:off x="8453791" y="3813798"/>
              <a:ext cx="363278" cy="415147"/>
              <a:chOff x="3216275" y="836612"/>
              <a:chExt cx="2592389" cy="3455987"/>
            </a:xfrm>
            <a:solidFill>
              <a:schemeClr val="bg1"/>
            </a:solidFill>
          </p:grpSpPr>
          <p:sp>
            <p:nvSpPr>
              <p:cNvPr id="108" name="Can 106">
                <a:extLst>
                  <a:ext uri="{FF2B5EF4-FFF2-40B4-BE49-F238E27FC236}">
                    <a16:creationId xmlns:a16="http://schemas.microsoft.com/office/drawing/2014/main" id="{91B91845-2C4D-4D43-8F8D-E65BD6290294}"/>
                  </a:ext>
                </a:extLst>
              </p:cNvPr>
              <p:cNvSpPr/>
              <p:nvPr/>
            </p:nvSpPr>
            <p:spPr>
              <a:xfrm>
                <a:off x="3216276" y="836612"/>
                <a:ext cx="2592388" cy="3455987"/>
              </a:xfrm>
              <a:prstGeom prst="can">
                <a:avLst>
                  <a:gd name="adj" fmla="val 29149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9" name="Arc 108">
                <a:extLst>
                  <a:ext uri="{FF2B5EF4-FFF2-40B4-BE49-F238E27FC236}">
                    <a16:creationId xmlns:a16="http://schemas.microsoft.com/office/drawing/2014/main" id="{343B53EB-0599-427B-8CE4-43A7BFF5E589}"/>
                  </a:ext>
                </a:extLst>
              </p:cNvPr>
              <p:cNvSpPr/>
              <p:nvPr/>
            </p:nvSpPr>
            <p:spPr>
              <a:xfrm flipV="1">
                <a:off x="3216276" y="1700210"/>
                <a:ext cx="2592388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0" name="Arc 109">
                <a:extLst>
                  <a:ext uri="{FF2B5EF4-FFF2-40B4-BE49-F238E27FC236}">
                    <a16:creationId xmlns:a16="http://schemas.microsoft.com/office/drawing/2014/main" id="{30F22D9B-0C02-48C6-A04B-0B3970F94061}"/>
                  </a:ext>
                </a:extLst>
              </p:cNvPr>
              <p:cNvSpPr/>
              <p:nvPr/>
            </p:nvSpPr>
            <p:spPr>
              <a:xfrm flipV="1">
                <a:off x="3216275" y="2563807"/>
                <a:ext cx="2591593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52D1E575-24F2-4B0E-9571-93461A51EA77}"/>
                </a:ext>
              </a:extLst>
            </p:cNvPr>
            <p:cNvGrpSpPr/>
            <p:nvPr/>
          </p:nvGrpSpPr>
          <p:grpSpPr>
            <a:xfrm>
              <a:off x="5796943" y="1493841"/>
              <a:ext cx="724675" cy="625986"/>
              <a:chOff x="6242663" y="1916832"/>
              <a:chExt cx="724675" cy="625986"/>
            </a:xfrm>
          </p:grpSpPr>
          <p:sp>
            <p:nvSpPr>
              <p:cNvPr id="100" name="Rectangle 99">
                <a:extLst>
                  <a:ext uri="{FF2B5EF4-FFF2-40B4-BE49-F238E27FC236}">
                    <a16:creationId xmlns:a16="http://schemas.microsoft.com/office/drawing/2014/main" id="{B9688D0F-D6E9-4A16-BF41-E9C76274040B}"/>
                  </a:ext>
                </a:extLst>
              </p:cNvPr>
              <p:cNvSpPr/>
              <p:nvPr/>
            </p:nvSpPr>
            <p:spPr>
              <a:xfrm>
                <a:off x="6425838" y="1916832"/>
                <a:ext cx="541500" cy="62583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739B1F5C-915D-4050-93EE-C27F3BC39130}"/>
                  </a:ext>
                </a:extLst>
              </p:cNvPr>
              <p:cNvSpPr/>
              <p:nvPr/>
            </p:nvSpPr>
            <p:spPr>
              <a:xfrm>
                <a:off x="6606733" y="2392283"/>
                <a:ext cx="179711" cy="150535"/>
              </a:xfrm>
              <a:prstGeom prst="rect">
                <a:avLst/>
              </a:prstGeom>
              <a:solidFill>
                <a:schemeClr val="bg1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488B4B7D-807A-4298-BB4D-C2C87EA78C9F}"/>
                  </a:ext>
                </a:extLst>
              </p:cNvPr>
              <p:cNvSpPr/>
              <p:nvPr/>
            </p:nvSpPr>
            <p:spPr>
              <a:xfrm>
                <a:off x="6242663" y="2061380"/>
                <a:ext cx="183175" cy="481272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103" name="Group 102">
                <a:extLst>
                  <a:ext uri="{FF2B5EF4-FFF2-40B4-BE49-F238E27FC236}">
                    <a16:creationId xmlns:a16="http://schemas.microsoft.com/office/drawing/2014/main" id="{6C9DDC5D-864C-474A-BAF3-76941BDBD7B4}"/>
                  </a:ext>
                </a:extLst>
              </p:cNvPr>
              <p:cNvGrpSpPr/>
              <p:nvPr/>
            </p:nvGrpSpPr>
            <p:grpSpPr>
              <a:xfrm>
                <a:off x="6496351" y="2016000"/>
                <a:ext cx="400475" cy="260872"/>
                <a:chOff x="6487613" y="2016000"/>
                <a:chExt cx="400475" cy="260872"/>
              </a:xfrm>
            </p:grpSpPr>
            <p:cxnSp>
              <p:nvCxnSpPr>
                <p:cNvPr id="104" name="Straight Connector 103">
                  <a:extLst>
                    <a:ext uri="{FF2B5EF4-FFF2-40B4-BE49-F238E27FC236}">
                      <a16:creationId xmlns:a16="http://schemas.microsoft.com/office/drawing/2014/main" id="{A768AD79-22DE-461B-8E7D-60DD30D55521}"/>
                    </a:ext>
                  </a:extLst>
                </p:cNvPr>
                <p:cNvCxnSpPr/>
                <p:nvPr/>
              </p:nvCxnSpPr>
              <p:spPr>
                <a:xfrm>
                  <a:off x="6487613" y="2276872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5" name="Straight Connector 104">
                  <a:extLst>
                    <a:ext uri="{FF2B5EF4-FFF2-40B4-BE49-F238E27FC236}">
                      <a16:creationId xmlns:a16="http://schemas.microsoft.com/office/drawing/2014/main" id="{E07FBAB9-1B99-4F10-A40C-4EA2E3ADB165}"/>
                    </a:ext>
                  </a:extLst>
                </p:cNvPr>
                <p:cNvCxnSpPr/>
                <p:nvPr/>
              </p:nvCxnSpPr>
              <p:spPr>
                <a:xfrm>
                  <a:off x="6487613" y="2189914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Straight Connector 105">
                  <a:extLst>
                    <a:ext uri="{FF2B5EF4-FFF2-40B4-BE49-F238E27FC236}">
                      <a16:creationId xmlns:a16="http://schemas.microsoft.com/office/drawing/2014/main" id="{3803779B-CDF0-4D95-BDE9-CAF537C642FC}"/>
                    </a:ext>
                  </a:extLst>
                </p:cNvPr>
                <p:cNvCxnSpPr/>
                <p:nvPr/>
              </p:nvCxnSpPr>
              <p:spPr>
                <a:xfrm>
                  <a:off x="6487613" y="2102957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7" name="Straight Connector 106">
                  <a:extLst>
                    <a:ext uri="{FF2B5EF4-FFF2-40B4-BE49-F238E27FC236}">
                      <a16:creationId xmlns:a16="http://schemas.microsoft.com/office/drawing/2014/main" id="{3A4E2750-CCD1-49B7-95D9-0C49C9266DE2}"/>
                    </a:ext>
                  </a:extLst>
                </p:cNvPr>
                <p:cNvCxnSpPr/>
                <p:nvPr/>
              </p:nvCxnSpPr>
              <p:spPr>
                <a:xfrm>
                  <a:off x="6487613" y="2016000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590BC8A3-D58C-462B-B916-36881C9E01CC}"/>
                </a:ext>
              </a:extLst>
            </p:cNvPr>
            <p:cNvGrpSpPr/>
            <p:nvPr/>
          </p:nvGrpSpPr>
          <p:grpSpPr>
            <a:xfrm>
              <a:off x="5508911" y="1940509"/>
              <a:ext cx="363278" cy="415147"/>
              <a:chOff x="3216275" y="836612"/>
              <a:chExt cx="2592389" cy="3455987"/>
            </a:xfrm>
            <a:solidFill>
              <a:schemeClr val="bg1"/>
            </a:solidFill>
          </p:grpSpPr>
          <p:sp>
            <p:nvSpPr>
              <p:cNvPr id="97" name="Can 95">
                <a:extLst>
                  <a:ext uri="{FF2B5EF4-FFF2-40B4-BE49-F238E27FC236}">
                    <a16:creationId xmlns:a16="http://schemas.microsoft.com/office/drawing/2014/main" id="{1F29F38C-62B8-4CD2-923A-58C53C9B945E}"/>
                  </a:ext>
                </a:extLst>
              </p:cNvPr>
              <p:cNvSpPr/>
              <p:nvPr/>
            </p:nvSpPr>
            <p:spPr>
              <a:xfrm>
                <a:off x="3216276" y="836612"/>
                <a:ext cx="2592388" cy="3455987"/>
              </a:xfrm>
              <a:prstGeom prst="can">
                <a:avLst>
                  <a:gd name="adj" fmla="val 29149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8" name="Arc 97">
                <a:extLst>
                  <a:ext uri="{FF2B5EF4-FFF2-40B4-BE49-F238E27FC236}">
                    <a16:creationId xmlns:a16="http://schemas.microsoft.com/office/drawing/2014/main" id="{8459BAE0-464A-4543-97CB-1C1C173EBF94}"/>
                  </a:ext>
                </a:extLst>
              </p:cNvPr>
              <p:cNvSpPr/>
              <p:nvPr/>
            </p:nvSpPr>
            <p:spPr>
              <a:xfrm flipV="1">
                <a:off x="3216276" y="1700210"/>
                <a:ext cx="2592388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9" name="Arc 98">
                <a:extLst>
                  <a:ext uri="{FF2B5EF4-FFF2-40B4-BE49-F238E27FC236}">
                    <a16:creationId xmlns:a16="http://schemas.microsoft.com/office/drawing/2014/main" id="{00BD2B5F-C67D-4022-9C4B-7A0307624CAC}"/>
                  </a:ext>
                </a:extLst>
              </p:cNvPr>
              <p:cNvSpPr/>
              <p:nvPr/>
            </p:nvSpPr>
            <p:spPr>
              <a:xfrm flipV="1">
                <a:off x="3216275" y="2563807"/>
                <a:ext cx="2591593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4B9CE0D-35DA-4270-9F6A-9EE23C61D1AE}"/>
                </a:ext>
              </a:extLst>
            </p:cNvPr>
            <p:cNvGrpSpPr/>
            <p:nvPr/>
          </p:nvGrpSpPr>
          <p:grpSpPr>
            <a:xfrm>
              <a:off x="7660534" y="4603531"/>
              <a:ext cx="724675" cy="625986"/>
              <a:chOff x="6242663" y="1916832"/>
              <a:chExt cx="724675" cy="625986"/>
            </a:xfrm>
          </p:grpSpPr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DA02D8BF-E2D6-4B8C-9532-C5BAC050A525}"/>
                  </a:ext>
                </a:extLst>
              </p:cNvPr>
              <p:cNvSpPr/>
              <p:nvPr/>
            </p:nvSpPr>
            <p:spPr>
              <a:xfrm>
                <a:off x="6425838" y="1916832"/>
                <a:ext cx="541500" cy="625830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0" name="Rectangle 89">
                <a:extLst>
                  <a:ext uri="{FF2B5EF4-FFF2-40B4-BE49-F238E27FC236}">
                    <a16:creationId xmlns:a16="http://schemas.microsoft.com/office/drawing/2014/main" id="{B8EB2E04-924A-4B5F-B271-B2FC99E21297}"/>
                  </a:ext>
                </a:extLst>
              </p:cNvPr>
              <p:cNvSpPr/>
              <p:nvPr/>
            </p:nvSpPr>
            <p:spPr>
              <a:xfrm>
                <a:off x="6606733" y="2392283"/>
                <a:ext cx="179711" cy="150535"/>
              </a:xfrm>
              <a:prstGeom prst="rect">
                <a:avLst/>
              </a:prstGeom>
              <a:solidFill>
                <a:schemeClr val="bg1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D2EFBE5C-9B5A-46A8-9318-B88E81CCF461}"/>
                  </a:ext>
                </a:extLst>
              </p:cNvPr>
              <p:cNvSpPr/>
              <p:nvPr/>
            </p:nvSpPr>
            <p:spPr>
              <a:xfrm>
                <a:off x="6242663" y="2061380"/>
                <a:ext cx="183175" cy="481272"/>
              </a:xfrm>
              <a:prstGeom prst="rect">
                <a:avLst/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54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92" name="Group 91">
                <a:extLst>
                  <a:ext uri="{FF2B5EF4-FFF2-40B4-BE49-F238E27FC236}">
                    <a16:creationId xmlns:a16="http://schemas.microsoft.com/office/drawing/2014/main" id="{4EE53703-984E-438E-B2B8-D837B875CEB0}"/>
                  </a:ext>
                </a:extLst>
              </p:cNvPr>
              <p:cNvGrpSpPr/>
              <p:nvPr/>
            </p:nvGrpSpPr>
            <p:grpSpPr>
              <a:xfrm>
                <a:off x="6496351" y="2016000"/>
                <a:ext cx="400475" cy="260872"/>
                <a:chOff x="6487613" y="2016000"/>
                <a:chExt cx="400475" cy="260872"/>
              </a:xfrm>
            </p:grpSpPr>
            <p:cxnSp>
              <p:nvCxnSpPr>
                <p:cNvPr id="93" name="Straight Connector 92">
                  <a:extLst>
                    <a:ext uri="{FF2B5EF4-FFF2-40B4-BE49-F238E27FC236}">
                      <a16:creationId xmlns:a16="http://schemas.microsoft.com/office/drawing/2014/main" id="{443EF1D2-5156-4F46-B66A-5578FFA0B28F}"/>
                    </a:ext>
                  </a:extLst>
                </p:cNvPr>
                <p:cNvCxnSpPr/>
                <p:nvPr/>
              </p:nvCxnSpPr>
              <p:spPr>
                <a:xfrm>
                  <a:off x="6487613" y="2276872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4" name="Straight Connector 93">
                  <a:extLst>
                    <a:ext uri="{FF2B5EF4-FFF2-40B4-BE49-F238E27FC236}">
                      <a16:creationId xmlns:a16="http://schemas.microsoft.com/office/drawing/2014/main" id="{D4D01265-BB62-4B81-BA50-6846843F55E9}"/>
                    </a:ext>
                  </a:extLst>
                </p:cNvPr>
                <p:cNvCxnSpPr/>
                <p:nvPr/>
              </p:nvCxnSpPr>
              <p:spPr>
                <a:xfrm>
                  <a:off x="6487613" y="2189914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5" name="Straight Connector 94">
                  <a:extLst>
                    <a:ext uri="{FF2B5EF4-FFF2-40B4-BE49-F238E27FC236}">
                      <a16:creationId xmlns:a16="http://schemas.microsoft.com/office/drawing/2014/main" id="{75AFDA4F-F78E-4920-87B8-8630B5F9B8EA}"/>
                    </a:ext>
                  </a:extLst>
                </p:cNvPr>
                <p:cNvCxnSpPr/>
                <p:nvPr/>
              </p:nvCxnSpPr>
              <p:spPr>
                <a:xfrm>
                  <a:off x="6487613" y="2102957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Straight Connector 95">
                  <a:extLst>
                    <a:ext uri="{FF2B5EF4-FFF2-40B4-BE49-F238E27FC236}">
                      <a16:creationId xmlns:a16="http://schemas.microsoft.com/office/drawing/2014/main" id="{205B9265-9740-4DF5-9EAE-72031612CEF1}"/>
                    </a:ext>
                  </a:extLst>
                </p:cNvPr>
                <p:cNvCxnSpPr/>
                <p:nvPr/>
              </p:nvCxnSpPr>
              <p:spPr>
                <a:xfrm>
                  <a:off x="6487613" y="2016000"/>
                  <a:ext cx="400475" cy="0"/>
                </a:xfrm>
                <a:prstGeom prst="line">
                  <a:avLst/>
                </a:prstGeom>
                <a:ln w="28575">
                  <a:solidFill>
                    <a:srgbClr val="346377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D0B38F95-B9FD-491D-90CF-1896F86DB7DF}"/>
                </a:ext>
              </a:extLst>
            </p:cNvPr>
            <p:cNvGrpSpPr/>
            <p:nvPr/>
          </p:nvGrpSpPr>
          <p:grpSpPr>
            <a:xfrm>
              <a:off x="4250252" y="4445071"/>
              <a:ext cx="363278" cy="415147"/>
              <a:chOff x="3216275" y="836612"/>
              <a:chExt cx="2592389" cy="3455987"/>
            </a:xfrm>
            <a:solidFill>
              <a:schemeClr val="bg1"/>
            </a:solidFill>
          </p:grpSpPr>
          <p:sp>
            <p:nvSpPr>
              <p:cNvPr id="86" name="Can 84">
                <a:extLst>
                  <a:ext uri="{FF2B5EF4-FFF2-40B4-BE49-F238E27FC236}">
                    <a16:creationId xmlns:a16="http://schemas.microsoft.com/office/drawing/2014/main" id="{0E99C731-FAF0-452E-A8C6-8980FF27B50E}"/>
                  </a:ext>
                </a:extLst>
              </p:cNvPr>
              <p:cNvSpPr/>
              <p:nvPr/>
            </p:nvSpPr>
            <p:spPr>
              <a:xfrm>
                <a:off x="3216276" y="836612"/>
                <a:ext cx="2592388" cy="3455987"/>
              </a:xfrm>
              <a:prstGeom prst="can">
                <a:avLst>
                  <a:gd name="adj" fmla="val 29149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7" name="Arc 86">
                <a:extLst>
                  <a:ext uri="{FF2B5EF4-FFF2-40B4-BE49-F238E27FC236}">
                    <a16:creationId xmlns:a16="http://schemas.microsoft.com/office/drawing/2014/main" id="{BE1C281F-E748-477C-A8DF-A65742339057}"/>
                  </a:ext>
                </a:extLst>
              </p:cNvPr>
              <p:cNvSpPr/>
              <p:nvPr/>
            </p:nvSpPr>
            <p:spPr>
              <a:xfrm flipV="1">
                <a:off x="3216276" y="1700210"/>
                <a:ext cx="2592388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" name="Arc 87">
                <a:extLst>
                  <a:ext uri="{FF2B5EF4-FFF2-40B4-BE49-F238E27FC236}">
                    <a16:creationId xmlns:a16="http://schemas.microsoft.com/office/drawing/2014/main" id="{F86C3811-787C-408E-B80E-7F4E3D978977}"/>
                  </a:ext>
                </a:extLst>
              </p:cNvPr>
              <p:cNvSpPr/>
              <p:nvPr/>
            </p:nvSpPr>
            <p:spPr>
              <a:xfrm flipV="1">
                <a:off x="3216275" y="2563807"/>
                <a:ext cx="2591593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A12B859F-F8DA-4886-9E84-3C72E7AA729F}"/>
                </a:ext>
              </a:extLst>
            </p:cNvPr>
            <p:cNvGrpSpPr/>
            <p:nvPr/>
          </p:nvGrpSpPr>
          <p:grpSpPr>
            <a:xfrm>
              <a:off x="7398535" y="4442575"/>
              <a:ext cx="363278" cy="415147"/>
              <a:chOff x="3216275" y="836612"/>
              <a:chExt cx="2592389" cy="3455987"/>
            </a:xfrm>
            <a:solidFill>
              <a:schemeClr val="bg1"/>
            </a:solidFill>
          </p:grpSpPr>
          <p:sp>
            <p:nvSpPr>
              <p:cNvPr id="83" name="Can 81">
                <a:extLst>
                  <a:ext uri="{FF2B5EF4-FFF2-40B4-BE49-F238E27FC236}">
                    <a16:creationId xmlns:a16="http://schemas.microsoft.com/office/drawing/2014/main" id="{ABB5E608-7FEA-4B01-8EEA-2BF3F4DF14E3}"/>
                  </a:ext>
                </a:extLst>
              </p:cNvPr>
              <p:cNvSpPr/>
              <p:nvPr/>
            </p:nvSpPr>
            <p:spPr>
              <a:xfrm>
                <a:off x="3216276" y="836612"/>
                <a:ext cx="2592388" cy="3455987"/>
              </a:xfrm>
              <a:prstGeom prst="can">
                <a:avLst>
                  <a:gd name="adj" fmla="val 29149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Arc 83">
                <a:extLst>
                  <a:ext uri="{FF2B5EF4-FFF2-40B4-BE49-F238E27FC236}">
                    <a16:creationId xmlns:a16="http://schemas.microsoft.com/office/drawing/2014/main" id="{4EB6D1A3-60EC-4EF7-87F0-66490CDBF1B4}"/>
                  </a:ext>
                </a:extLst>
              </p:cNvPr>
              <p:cNvSpPr/>
              <p:nvPr/>
            </p:nvSpPr>
            <p:spPr>
              <a:xfrm flipV="1">
                <a:off x="3216276" y="1700210"/>
                <a:ext cx="2592388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5" name="Arc 84">
                <a:extLst>
                  <a:ext uri="{FF2B5EF4-FFF2-40B4-BE49-F238E27FC236}">
                    <a16:creationId xmlns:a16="http://schemas.microsoft.com/office/drawing/2014/main" id="{9148678E-B253-49EF-8399-5DC465AB9C67}"/>
                  </a:ext>
                </a:extLst>
              </p:cNvPr>
              <p:cNvSpPr/>
              <p:nvPr/>
            </p:nvSpPr>
            <p:spPr>
              <a:xfrm flipV="1">
                <a:off x="3216275" y="2563807"/>
                <a:ext cx="2591593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id="{EFF23858-D2F4-4BF8-8101-9B60EBFC8D7D}"/>
                </a:ext>
              </a:extLst>
            </p:cNvPr>
            <p:cNvSpPr/>
            <p:nvPr/>
          </p:nvSpPr>
          <p:spPr>
            <a:xfrm>
              <a:off x="4644815" y="2600075"/>
              <a:ext cx="2595126" cy="1766409"/>
            </a:xfrm>
            <a:custGeom>
              <a:avLst/>
              <a:gdLst>
                <a:gd name="connsiteX0" fmla="*/ 683528 w 2179262"/>
                <a:gd name="connsiteY0" fmla="*/ 958239 h 1043968"/>
                <a:gd name="connsiteX1" fmla="*/ 1959172 w 2179262"/>
                <a:gd name="connsiteY1" fmla="*/ 980817 h 1043968"/>
                <a:gd name="connsiteX2" fmla="*/ 2083350 w 2179262"/>
                <a:gd name="connsiteY2" fmla="*/ 100283 h 1043968"/>
                <a:gd name="connsiteX3" fmla="*/ 954461 w 2179262"/>
                <a:gd name="connsiteY3" fmla="*/ 66417 h 1043968"/>
                <a:gd name="connsiteX4" fmla="*/ 931883 w 2179262"/>
                <a:gd name="connsiteY4" fmla="*/ 517972 h 1043968"/>
                <a:gd name="connsiteX5" fmla="*/ 209394 w 2179262"/>
                <a:gd name="connsiteY5" fmla="*/ 292194 h 1043968"/>
                <a:gd name="connsiteX6" fmla="*/ 28772 w 2179262"/>
                <a:gd name="connsiteY6" fmla="*/ 834061 h 1043968"/>
                <a:gd name="connsiteX7" fmla="*/ 683528 w 2179262"/>
                <a:gd name="connsiteY7" fmla="*/ 958239 h 1043968"/>
                <a:gd name="connsiteX0" fmla="*/ 683528 w 2171502"/>
                <a:gd name="connsiteY0" fmla="*/ 1004530 h 1090259"/>
                <a:gd name="connsiteX1" fmla="*/ 1959172 w 2171502"/>
                <a:gd name="connsiteY1" fmla="*/ 1027108 h 1090259"/>
                <a:gd name="connsiteX2" fmla="*/ 2083350 w 2171502"/>
                <a:gd name="connsiteY2" fmla="*/ 146574 h 1090259"/>
                <a:gd name="connsiteX3" fmla="*/ 1061411 w 2171502"/>
                <a:gd name="connsiteY3" fmla="*/ 40359 h 1090259"/>
                <a:gd name="connsiteX4" fmla="*/ 931883 w 2171502"/>
                <a:gd name="connsiteY4" fmla="*/ 564263 h 1090259"/>
                <a:gd name="connsiteX5" fmla="*/ 209394 w 2171502"/>
                <a:gd name="connsiteY5" fmla="*/ 338485 h 1090259"/>
                <a:gd name="connsiteX6" fmla="*/ 28772 w 2171502"/>
                <a:gd name="connsiteY6" fmla="*/ 880352 h 1090259"/>
                <a:gd name="connsiteX7" fmla="*/ 683528 w 2171502"/>
                <a:gd name="connsiteY7" fmla="*/ 1004530 h 1090259"/>
                <a:gd name="connsiteX0" fmla="*/ 768622 w 2171062"/>
                <a:gd name="connsiteY0" fmla="*/ 1020258 h 1095619"/>
                <a:gd name="connsiteX1" fmla="*/ 1962481 w 2171062"/>
                <a:gd name="connsiteY1" fmla="*/ 1027108 h 1095619"/>
                <a:gd name="connsiteX2" fmla="*/ 2086659 w 2171062"/>
                <a:gd name="connsiteY2" fmla="*/ 146574 h 1095619"/>
                <a:gd name="connsiteX3" fmla="*/ 1064720 w 2171062"/>
                <a:gd name="connsiteY3" fmla="*/ 40359 h 1095619"/>
                <a:gd name="connsiteX4" fmla="*/ 935192 w 2171062"/>
                <a:gd name="connsiteY4" fmla="*/ 564263 h 1095619"/>
                <a:gd name="connsiteX5" fmla="*/ 212703 w 2171062"/>
                <a:gd name="connsiteY5" fmla="*/ 338485 h 1095619"/>
                <a:gd name="connsiteX6" fmla="*/ 32081 w 2171062"/>
                <a:gd name="connsiteY6" fmla="*/ 880352 h 1095619"/>
                <a:gd name="connsiteX7" fmla="*/ 768622 w 2171062"/>
                <a:gd name="connsiteY7" fmla="*/ 1020258 h 1095619"/>
                <a:gd name="connsiteX0" fmla="*/ 768622 w 2089614"/>
                <a:gd name="connsiteY0" fmla="*/ 1019855 h 1088151"/>
                <a:gd name="connsiteX1" fmla="*/ 1355382 w 2089614"/>
                <a:gd name="connsiteY1" fmla="*/ 1017268 h 1088151"/>
                <a:gd name="connsiteX2" fmla="*/ 2086659 w 2089614"/>
                <a:gd name="connsiteY2" fmla="*/ 146171 h 1088151"/>
                <a:gd name="connsiteX3" fmla="*/ 1064720 w 2089614"/>
                <a:gd name="connsiteY3" fmla="*/ 39956 h 1088151"/>
                <a:gd name="connsiteX4" fmla="*/ 935192 w 2089614"/>
                <a:gd name="connsiteY4" fmla="*/ 563860 h 1088151"/>
                <a:gd name="connsiteX5" fmla="*/ 212703 w 2089614"/>
                <a:gd name="connsiteY5" fmla="*/ 338082 h 1088151"/>
                <a:gd name="connsiteX6" fmla="*/ 32081 w 2089614"/>
                <a:gd name="connsiteY6" fmla="*/ 879949 h 1088151"/>
                <a:gd name="connsiteX7" fmla="*/ 768622 w 2089614"/>
                <a:gd name="connsiteY7" fmla="*/ 1019855 h 1088151"/>
                <a:gd name="connsiteX0" fmla="*/ 768622 w 2089661"/>
                <a:gd name="connsiteY0" fmla="*/ 1019855 h 1029581"/>
                <a:gd name="connsiteX1" fmla="*/ 1355382 w 2089661"/>
                <a:gd name="connsiteY1" fmla="*/ 1017268 h 1029581"/>
                <a:gd name="connsiteX2" fmla="*/ 2086659 w 2089661"/>
                <a:gd name="connsiteY2" fmla="*/ 146171 h 1029581"/>
                <a:gd name="connsiteX3" fmla="*/ 1064720 w 2089661"/>
                <a:gd name="connsiteY3" fmla="*/ 39956 h 1029581"/>
                <a:gd name="connsiteX4" fmla="*/ 935192 w 2089661"/>
                <a:gd name="connsiteY4" fmla="*/ 563860 h 1029581"/>
                <a:gd name="connsiteX5" fmla="*/ 212703 w 2089661"/>
                <a:gd name="connsiteY5" fmla="*/ 338082 h 1029581"/>
                <a:gd name="connsiteX6" fmla="*/ 32081 w 2089661"/>
                <a:gd name="connsiteY6" fmla="*/ 879949 h 1029581"/>
                <a:gd name="connsiteX7" fmla="*/ 768622 w 2089661"/>
                <a:gd name="connsiteY7" fmla="*/ 1019855 h 1029581"/>
                <a:gd name="connsiteX0" fmla="*/ 768622 w 2089661"/>
                <a:gd name="connsiteY0" fmla="*/ 1019855 h 1021273"/>
                <a:gd name="connsiteX1" fmla="*/ 1355382 w 2089661"/>
                <a:gd name="connsiteY1" fmla="*/ 1017268 h 1021273"/>
                <a:gd name="connsiteX2" fmla="*/ 2086659 w 2089661"/>
                <a:gd name="connsiteY2" fmla="*/ 146171 h 1021273"/>
                <a:gd name="connsiteX3" fmla="*/ 1064720 w 2089661"/>
                <a:gd name="connsiteY3" fmla="*/ 39956 h 1021273"/>
                <a:gd name="connsiteX4" fmla="*/ 935192 w 2089661"/>
                <a:gd name="connsiteY4" fmla="*/ 563860 h 1021273"/>
                <a:gd name="connsiteX5" fmla="*/ 212703 w 2089661"/>
                <a:gd name="connsiteY5" fmla="*/ 338082 h 1021273"/>
                <a:gd name="connsiteX6" fmla="*/ 32081 w 2089661"/>
                <a:gd name="connsiteY6" fmla="*/ 879949 h 1021273"/>
                <a:gd name="connsiteX7" fmla="*/ 768622 w 2089661"/>
                <a:gd name="connsiteY7" fmla="*/ 1019855 h 1021273"/>
                <a:gd name="connsiteX0" fmla="*/ 768622 w 2089661"/>
                <a:gd name="connsiteY0" fmla="*/ 1019855 h 1021273"/>
                <a:gd name="connsiteX1" fmla="*/ 1355382 w 2089661"/>
                <a:gd name="connsiteY1" fmla="*/ 1017268 h 1021273"/>
                <a:gd name="connsiteX2" fmla="*/ 2086659 w 2089661"/>
                <a:gd name="connsiteY2" fmla="*/ 146171 h 1021273"/>
                <a:gd name="connsiteX3" fmla="*/ 1064720 w 2089661"/>
                <a:gd name="connsiteY3" fmla="*/ 39956 h 1021273"/>
                <a:gd name="connsiteX4" fmla="*/ 935192 w 2089661"/>
                <a:gd name="connsiteY4" fmla="*/ 563860 h 1021273"/>
                <a:gd name="connsiteX5" fmla="*/ 212703 w 2089661"/>
                <a:gd name="connsiteY5" fmla="*/ 338082 h 1021273"/>
                <a:gd name="connsiteX6" fmla="*/ 32081 w 2089661"/>
                <a:gd name="connsiteY6" fmla="*/ 879949 h 1021273"/>
                <a:gd name="connsiteX7" fmla="*/ 768622 w 2089661"/>
                <a:gd name="connsiteY7" fmla="*/ 1019855 h 1021273"/>
                <a:gd name="connsiteX0" fmla="*/ 583259 w 1904298"/>
                <a:gd name="connsiteY0" fmla="*/ 1019855 h 1021273"/>
                <a:gd name="connsiteX1" fmla="*/ 1170019 w 1904298"/>
                <a:gd name="connsiteY1" fmla="*/ 1017268 h 1021273"/>
                <a:gd name="connsiteX2" fmla="*/ 1901296 w 1904298"/>
                <a:gd name="connsiteY2" fmla="*/ 146171 h 1021273"/>
                <a:gd name="connsiteX3" fmla="*/ 879357 w 1904298"/>
                <a:gd name="connsiteY3" fmla="*/ 39956 h 1021273"/>
                <a:gd name="connsiteX4" fmla="*/ 749829 w 1904298"/>
                <a:gd name="connsiteY4" fmla="*/ 563860 h 1021273"/>
                <a:gd name="connsiteX5" fmla="*/ 27340 w 1904298"/>
                <a:gd name="connsiteY5" fmla="*/ 338082 h 1021273"/>
                <a:gd name="connsiteX6" fmla="*/ 485272 w 1904298"/>
                <a:gd name="connsiteY6" fmla="*/ 584264 h 1021273"/>
                <a:gd name="connsiteX7" fmla="*/ 583259 w 1904298"/>
                <a:gd name="connsiteY7" fmla="*/ 1019855 h 1021273"/>
                <a:gd name="connsiteX0" fmla="*/ 583259 w 1904298"/>
                <a:gd name="connsiteY0" fmla="*/ 1019855 h 1021273"/>
                <a:gd name="connsiteX1" fmla="*/ 1170019 w 1904298"/>
                <a:gd name="connsiteY1" fmla="*/ 1017268 h 1021273"/>
                <a:gd name="connsiteX2" fmla="*/ 1901296 w 1904298"/>
                <a:gd name="connsiteY2" fmla="*/ 146171 h 1021273"/>
                <a:gd name="connsiteX3" fmla="*/ 879357 w 1904298"/>
                <a:gd name="connsiteY3" fmla="*/ 39956 h 1021273"/>
                <a:gd name="connsiteX4" fmla="*/ 749829 w 1904298"/>
                <a:gd name="connsiteY4" fmla="*/ 563860 h 1021273"/>
                <a:gd name="connsiteX5" fmla="*/ 27340 w 1904298"/>
                <a:gd name="connsiteY5" fmla="*/ 338082 h 1021273"/>
                <a:gd name="connsiteX6" fmla="*/ 485272 w 1904298"/>
                <a:gd name="connsiteY6" fmla="*/ 584264 h 1021273"/>
                <a:gd name="connsiteX7" fmla="*/ 583259 w 1904298"/>
                <a:gd name="connsiteY7" fmla="*/ 1019855 h 1021273"/>
                <a:gd name="connsiteX0" fmla="*/ 583259 w 1904298"/>
                <a:gd name="connsiteY0" fmla="*/ 1019855 h 1021273"/>
                <a:gd name="connsiteX1" fmla="*/ 1170019 w 1904298"/>
                <a:gd name="connsiteY1" fmla="*/ 1017268 h 1021273"/>
                <a:gd name="connsiteX2" fmla="*/ 1901296 w 1904298"/>
                <a:gd name="connsiteY2" fmla="*/ 146171 h 1021273"/>
                <a:gd name="connsiteX3" fmla="*/ 879357 w 1904298"/>
                <a:gd name="connsiteY3" fmla="*/ 39956 h 1021273"/>
                <a:gd name="connsiteX4" fmla="*/ 749829 w 1904298"/>
                <a:gd name="connsiteY4" fmla="*/ 563860 h 1021273"/>
                <a:gd name="connsiteX5" fmla="*/ 27340 w 1904298"/>
                <a:gd name="connsiteY5" fmla="*/ 338082 h 1021273"/>
                <a:gd name="connsiteX6" fmla="*/ 485272 w 1904298"/>
                <a:gd name="connsiteY6" fmla="*/ 584264 h 1021273"/>
                <a:gd name="connsiteX7" fmla="*/ 583259 w 1904298"/>
                <a:gd name="connsiteY7" fmla="*/ 1019855 h 1021273"/>
                <a:gd name="connsiteX0" fmla="*/ 583259 w 1904298"/>
                <a:gd name="connsiteY0" fmla="*/ 1019855 h 1021273"/>
                <a:gd name="connsiteX1" fmla="*/ 1170019 w 1904298"/>
                <a:gd name="connsiteY1" fmla="*/ 1017268 h 1021273"/>
                <a:gd name="connsiteX2" fmla="*/ 1901296 w 1904298"/>
                <a:gd name="connsiteY2" fmla="*/ 146171 h 1021273"/>
                <a:gd name="connsiteX3" fmla="*/ 879357 w 1904298"/>
                <a:gd name="connsiteY3" fmla="*/ 39956 h 1021273"/>
                <a:gd name="connsiteX4" fmla="*/ 749829 w 1904298"/>
                <a:gd name="connsiteY4" fmla="*/ 563860 h 1021273"/>
                <a:gd name="connsiteX5" fmla="*/ 27340 w 1904298"/>
                <a:gd name="connsiteY5" fmla="*/ 338082 h 1021273"/>
                <a:gd name="connsiteX6" fmla="*/ 485272 w 1904298"/>
                <a:gd name="connsiteY6" fmla="*/ 584264 h 1021273"/>
                <a:gd name="connsiteX7" fmla="*/ 583259 w 1904298"/>
                <a:gd name="connsiteY7" fmla="*/ 1019855 h 1021273"/>
                <a:gd name="connsiteX0" fmla="*/ 579805 w 1900844"/>
                <a:gd name="connsiteY0" fmla="*/ 1019855 h 1021273"/>
                <a:gd name="connsiteX1" fmla="*/ 1166565 w 1900844"/>
                <a:gd name="connsiteY1" fmla="*/ 1017268 h 1021273"/>
                <a:gd name="connsiteX2" fmla="*/ 1897842 w 1900844"/>
                <a:gd name="connsiteY2" fmla="*/ 146171 h 1021273"/>
                <a:gd name="connsiteX3" fmla="*/ 875903 w 1900844"/>
                <a:gd name="connsiteY3" fmla="*/ 39956 h 1021273"/>
                <a:gd name="connsiteX4" fmla="*/ 746375 w 1900844"/>
                <a:gd name="connsiteY4" fmla="*/ 563860 h 1021273"/>
                <a:gd name="connsiteX5" fmla="*/ 23886 w 1900844"/>
                <a:gd name="connsiteY5" fmla="*/ 338082 h 1021273"/>
                <a:gd name="connsiteX6" fmla="*/ 481818 w 1900844"/>
                <a:gd name="connsiteY6" fmla="*/ 584264 h 1021273"/>
                <a:gd name="connsiteX7" fmla="*/ 579805 w 1900844"/>
                <a:gd name="connsiteY7" fmla="*/ 1019855 h 1021273"/>
                <a:gd name="connsiteX0" fmla="*/ 233624 w 1554663"/>
                <a:gd name="connsiteY0" fmla="*/ 1019855 h 1021273"/>
                <a:gd name="connsiteX1" fmla="*/ 820384 w 1554663"/>
                <a:gd name="connsiteY1" fmla="*/ 1017268 h 1021273"/>
                <a:gd name="connsiteX2" fmla="*/ 1551661 w 1554663"/>
                <a:gd name="connsiteY2" fmla="*/ 146171 h 1021273"/>
                <a:gd name="connsiteX3" fmla="*/ 529722 w 1554663"/>
                <a:gd name="connsiteY3" fmla="*/ 39956 h 1021273"/>
                <a:gd name="connsiteX4" fmla="*/ 400194 w 1554663"/>
                <a:gd name="connsiteY4" fmla="*/ 563860 h 1021273"/>
                <a:gd name="connsiteX5" fmla="*/ 643400 w 1554663"/>
                <a:gd name="connsiteY5" fmla="*/ 451323 h 1021273"/>
                <a:gd name="connsiteX6" fmla="*/ 135637 w 1554663"/>
                <a:gd name="connsiteY6" fmla="*/ 584264 h 1021273"/>
                <a:gd name="connsiteX7" fmla="*/ 233624 w 1554663"/>
                <a:gd name="connsiteY7" fmla="*/ 1019855 h 1021273"/>
                <a:gd name="connsiteX0" fmla="*/ 233624 w 1554663"/>
                <a:gd name="connsiteY0" fmla="*/ 1024252 h 1025670"/>
                <a:gd name="connsiteX1" fmla="*/ 820384 w 1554663"/>
                <a:gd name="connsiteY1" fmla="*/ 1021665 h 1025670"/>
                <a:gd name="connsiteX2" fmla="*/ 1551661 w 1554663"/>
                <a:gd name="connsiteY2" fmla="*/ 150568 h 1025670"/>
                <a:gd name="connsiteX3" fmla="*/ 529722 w 1554663"/>
                <a:gd name="connsiteY3" fmla="*/ 44353 h 1025670"/>
                <a:gd name="connsiteX4" fmla="*/ 827994 w 1554663"/>
                <a:gd name="connsiteY4" fmla="*/ 628023 h 1025670"/>
                <a:gd name="connsiteX5" fmla="*/ 643400 w 1554663"/>
                <a:gd name="connsiteY5" fmla="*/ 455720 h 1025670"/>
                <a:gd name="connsiteX6" fmla="*/ 135637 w 1554663"/>
                <a:gd name="connsiteY6" fmla="*/ 588661 h 1025670"/>
                <a:gd name="connsiteX7" fmla="*/ 233624 w 1554663"/>
                <a:gd name="connsiteY7" fmla="*/ 1024252 h 1025670"/>
                <a:gd name="connsiteX0" fmla="*/ 233624 w 1551663"/>
                <a:gd name="connsiteY0" fmla="*/ 879693 h 881111"/>
                <a:gd name="connsiteX1" fmla="*/ 820384 w 1551663"/>
                <a:gd name="connsiteY1" fmla="*/ 877106 h 881111"/>
                <a:gd name="connsiteX2" fmla="*/ 1551661 w 1551663"/>
                <a:gd name="connsiteY2" fmla="*/ 6009 h 881111"/>
                <a:gd name="connsiteX3" fmla="*/ 827994 w 1551663"/>
                <a:gd name="connsiteY3" fmla="*/ 483464 h 881111"/>
                <a:gd name="connsiteX4" fmla="*/ 643400 w 1551663"/>
                <a:gd name="connsiteY4" fmla="*/ 311161 h 881111"/>
                <a:gd name="connsiteX5" fmla="*/ 135637 w 1551663"/>
                <a:gd name="connsiteY5" fmla="*/ 444102 h 881111"/>
                <a:gd name="connsiteX6" fmla="*/ 233624 w 1551663"/>
                <a:gd name="connsiteY6" fmla="*/ 879693 h 881111"/>
                <a:gd name="connsiteX0" fmla="*/ 233624 w 874365"/>
                <a:gd name="connsiteY0" fmla="*/ 574900 h 603298"/>
                <a:gd name="connsiteX1" fmla="*/ 820384 w 874365"/>
                <a:gd name="connsiteY1" fmla="*/ 572313 h 603298"/>
                <a:gd name="connsiteX2" fmla="*/ 827994 w 874365"/>
                <a:gd name="connsiteY2" fmla="*/ 178671 h 603298"/>
                <a:gd name="connsiteX3" fmla="*/ 643400 w 874365"/>
                <a:gd name="connsiteY3" fmla="*/ 6368 h 603298"/>
                <a:gd name="connsiteX4" fmla="*/ 135637 w 874365"/>
                <a:gd name="connsiteY4" fmla="*/ 139309 h 603298"/>
                <a:gd name="connsiteX5" fmla="*/ 233624 w 874365"/>
                <a:gd name="connsiteY5" fmla="*/ 574900 h 603298"/>
                <a:gd name="connsiteX0" fmla="*/ 233624 w 874365"/>
                <a:gd name="connsiteY0" fmla="*/ 574900 h 575884"/>
                <a:gd name="connsiteX1" fmla="*/ 820384 w 874365"/>
                <a:gd name="connsiteY1" fmla="*/ 572313 h 575884"/>
                <a:gd name="connsiteX2" fmla="*/ 827994 w 874365"/>
                <a:gd name="connsiteY2" fmla="*/ 178671 h 575884"/>
                <a:gd name="connsiteX3" fmla="*/ 643400 w 874365"/>
                <a:gd name="connsiteY3" fmla="*/ 6368 h 575884"/>
                <a:gd name="connsiteX4" fmla="*/ 135637 w 874365"/>
                <a:gd name="connsiteY4" fmla="*/ 139309 h 575884"/>
                <a:gd name="connsiteX5" fmla="*/ 233624 w 874365"/>
                <a:gd name="connsiteY5" fmla="*/ 574900 h 575884"/>
                <a:gd name="connsiteX0" fmla="*/ 233624 w 926687"/>
                <a:gd name="connsiteY0" fmla="*/ 574900 h 575884"/>
                <a:gd name="connsiteX1" fmla="*/ 820384 w 926687"/>
                <a:gd name="connsiteY1" fmla="*/ 572313 h 575884"/>
                <a:gd name="connsiteX2" fmla="*/ 827994 w 926687"/>
                <a:gd name="connsiteY2" fmla="*/ 178671 h 575884"/>
                <a:gd name="connsiteX3" fmla="*/ 643400 w 926687"/>
                <a:gd name="connsiteY3" fmla="*/ 6368 h 575884"/>
                <a:gd name="connsiteX4" fmla="*/ 135637 w 926687"/>
                <a:gd name="connsiteY4" fmla="*/ 139309 h 575884"/>
                <a:gd name="connsiteX5" fmla="*/ 233624 w 926687"/>
                <a:gd name="connsiteY5" fmla="*/ 574900 h 575884"/>
                <a:gd name="connsiteX0" fmla="*/ 233624 w 926687"/>
                <a:gd name="connsiteY0" fmla="*/ 576186 h 577170"/>
                <a:gd name="connsiteX1" fmla="*/ 820384 w 926687"/>
                <a:gd name="connsiteY1" fmla="*/ 573599 h 577170"/>
                <a:gd name="connsiteX2" fmla="*/ 827994 w 926687"/>
                <a:gd name="connsiteY2" fmla="*/ 179957 h 577170"/>
                <a:gd name="connsiteX3" fmla="*/ 643400 w 926687"/>
                <a:gd name="connsiteY3" fmla="*/ 7654 h 577170"/>
                <a:gd name="connsiteX4" fmla="*/ 135637 w 926687"/>
                <a:gd name="connsiteY4" fmla="*/ 140595 h 577170"/>
                <a:gd name="connsiteX5" fmla="*/ 233624 w 926687"/>
                <a:gd name="connsiteY5" fmla="*/ 576186 h 577170"/>
                <a:gd name="connsiteX0" fmla="*/ 233624 w 990452"/>
                <a:gd name="connsiteY0" fmla="*/ 576186 h 577170"/>
                <a:gd name="connsiteX1" fmla="*/ 820384 w 990452"/>
                <a:gd name="connsiteY1" fmla="*/ 573599 h 577170"/>
                <a:gd name="connsiteX2" fmla="*/ 827994 w 990452"/>
                <a:gd name="connsiteY2" fmla="*/ 179957 h 577170"/>
                <a:gd name="connsiteX3" fmla="*/ 643400 w 990452"/>
                <a:gd name="connsiteY3" fmla="*/ 7654 h 577170"/>
                <a:gd name="connsiteX4" fmla="*/ 135637 w 990452"/>
                <a:gd name="connsiteY4" fmla="*/ 140595 h 577170"/>
                <a:gd name="connsiteX5" fmla="*/ 233624 w 990452"/>
                <a:gd name="connsiteY5" fmla="*/ 576186 h 577170"/>
                <a:gd name="connsiteX0" fmla="*/ 233624 w 990452"/>
                <a:gd name="connsiteY0" fmla="*/ 586235 h 587219"/>
                <a:gd name="connsiteX1" fmla="*/ 820384 w 990452"/>
                <a:gd name="connsiteY1" fmla="*/ 583648 h 587219"/>
                <a:gd name="connsiteX2" fmla="*/ 827994 w 990452"/>
                <a:gd name="connsiteY2" fmla="*/ 190006 h 587219"/>
                <a:gd name="connsiteX3" fmla="*/ 643400 w 990452"/>
                <a:gd name="connsiteY3" fmla="*/ 17703 h 587219"/>
                <a:gd name="connsiteX4" fmla="*/ 135637 w 990452"/>
                <a:gd name="connsiteY4" fmla="*/ 150644 h 587219"/>
                <a:gd name="connsiteX5" fmla="*/ 233624 w 990452"/>
                <a:gd name="connsiteY5" fmla="*/ 586235 h 587219"/>
                <a:gd name="connsiteX0" fmla="*/ 233624 w 990452"/>
                <a:gd name="connsiteY0" fmla="*/ 592711 h 593695"/>
                <a:gd name="connsiteX1" fmla="*/ 820384 w 990452"/>
                <a:gd name="connsiteY1" fmla="*/ 590124 h 593695"/>
                <a:gd name="connsiteX2" fmla="*/ 827994 w 990452"/>
                <a:gd name="connsiteY2" fmla="*/ 196482 h 593695"/>
                <a:gd name="connsiteX3" fmla="*/ 643400 w 990452"/>
                <a:gd name="connsiteY3" fmla="*/ 24179 h 593695"/>
                <a:gd name="connsiteX4" fmla="*/ 135637 w 990452"/>
                <a:gd name="connsiteY4" fmla="*/ 157120 h 593695"/>
                <a:gd name="connsiteX5" fmla="*/ 233624 w 990452"/>
                <a:gd name="connsiteY5" fmla="*/ 592711 h 593695"/>
                <a:gd name="connsiteX0" fmla="*/ 233624 w 990452"/>
                <a:gd name="connsiteY0" fmla="*/ 588729 h 589713"/>
                <a:gd name="connsiteX1" fmla="*/ 820384 w 990452"/>
                <a:gd name="connsiteY1" fmla="*/ 586142 h 589713"/>
                <a:gd name="connsiteX2" fmla="*/ 827994 w 990452"/>
                <a:gd name="connsiteY2" fmla="*/ 192500 h 589713"/>
                <a:gd name="connsiteX3" fmla="*/ 643400 w 990452"/>
                <a:gd name="connsiteY3" fmla="*/ 20197 h 589713"/>
                <a:gd name="connsiteX4" fmla="*/ 135637 w 990452"/>
                <a:gd name="connsiteY4" fmla="*/ 153138 h 589713"/>
                <a:gd name="connsiteX5" fmla="*/ 233624 w 990452"/>
                <a:gd name="connsiteY5" fmla="*/ 588729 h 589713"/>
                <a:gd name="connsiteX0" fmla="*/ 233624 w 990452"/>
                <a:gd name="connsiteY0" fmla="*/ 670987 h 671971"/>
                <a:gd name="connsiteX1" fmla="*/ 820384 w 990452"/>
                <a:gd name="connsiteY1" fmla="*/ 668400 h 671971"/>
                <a:gd name="connsiteX2" fmla="*/ 827994 w 990452"/>
                <a:gd name="connsiteY2" fmla="*/ 274758 h 671971"/>
                <a:gd name="connsiteX3" fmla="*/ 643400 w 990452"/>
                <a:gd name="connsiteY3" fmla="*/ 102455 h 671971"/>
                <a:gd name="connsiteX4" fmla="*/ 135637 w 990452"/>
                <a:gd name="connsiteY4" fmla="*/ 235396 h 671971"/>
                <a:gd name="connsiteX5" fmla="*/ 233624 w 990452"/>
                <a:gd name="connsiteY5" fmla="*/ 670987 h 671971"/>
                <a:gd name="connsiteX0" fmla="*/ 233624 w 990452"/>
                <a:gd name="connsiteY0" fmla="*/ 703326 h 704310"/>
                <a:gd name="connsiteX1" fmla="*/ 820384 w 990452"/>
                <a:gd name="connsiteY1" fmla="*/ 700739 h 704310"/>
                <a:gd name="connsiteX2" fmla="*/ 827994 w 990452"/>
                <a:gd name="connsiteY2" fmla="*/ 307097 h 704310"/>
                <a:gd name="connsiteX3" fmla="*/ 643400 w 990452"/>
                <a:gd name="connsiteY3" fmla="*/ 134794 h 704310"/>
                <a:gd name="connsiteX4" fmla="*/ 135637 w 990452"/>
                <a:gd name="connsiteY4" fmla="*/ 267735 h 704310"/>
                <a:gd name="connsiteX5" fmla="*/ 233624 w 990452"/>
                <a:gd name="connsiteY5" fmla="*/ 703326 h 704310"/>
                <a:gd name="connsiteX0" fmla="*/ 233624 w 990452"/>
                <a:gd name="connsiteY0" fmla="*/ 719045 h 720029"/>
                <a:gd name="connsiteX1" fmla="*/ 820384 w 990452"/>
                <a:gd name="connsiteY1" fmla="*/ 716458 h 720029"/>
                <a:gd name="connsiteX2" fmla="*/ 827994 w 990452"/>
                <a:gd name="connsiteY2" fmla="*/ 322816 h 720029"/>
                <a:gd name="connsiteX3" fmla="*/ 643400 w 990452"/>
                <a:gd name="connsiteY3" fmla="*/ 150513 h 720029"/>
                <a:gd name="connsiteX4" fmla="*/ 135637 w 990452"/>
                <a:gd name="connsiteY4" fmla="*/ 283454 h 720029"/>
                <a:gd name="connsiteX5" fmla="*/ 233624 w 990452"/>
                <a:gd name="connsiteY5" fmla="*/ 719045 h 720029"/>
                <a:gd name="connsiteX0" fmla="*/ 233624 w 990452"/>
                <a:gd name="connsiteY0" fmla="*/ 697620 h 698604"/>
                <a:gd name="connsiteX1" fmla="*/ 820384 w 990452"/>
                <a:gd name="connsiteY1" fmla="*/ 695033 h 698604"/>
                <a:gd name="connsiteX2" fmla="*/ 827994 w 990452"/>
                <a:gd name="connsiteY2" fmla="*/ 301391 h 698604"/>
                <a:gd name="connsiteX3" fmla="*/ 643400 w 990452"/>
                <a:gd name="connsiteY3" fmla="*/ 129088 h 698604"/>
                <a:gd name="connsiteX4" fmla="*/ 135637 w 990452"/>
                <a:gd name="connsiteY4" fmla="*/ 262029 h 698604"/>
                <a:gd name="connsiteX5" fmla="*/ 233624 w 990452"/>
                <a:gd name="connsiteY5" fmla="*/ 697620 h 698604"/>
                <a:gd name="connsiteX0" fmla="*/ 233624 w 990452"/>
                <a:gd name="connsiteY0" fmla="*/ 700364 h 701348"/>
                <a:gd name="connsiteX1" fmla="*/ 820384 w 990452"/>
                <a:gd name="connsiteY1" fmla="*/ 697777 h 701348"/>
                <a:gd name="connsiteX2" fmla="*/ 827994 w 990452"/>
                <a:gd name="connsiteY2" fmla="*/ 304135 h 701348"/>
                <a:gd name="connsiteX3" fmla="*/ 643400 w 990452"/>
                <a:gd name="connsiteY3" fmla="*/ 131832 h 701348"/>
                <a:gd name="connsiteX4" fmla="*/ 135637 w 990452"/>
                <a:gd name="connsiteY4" fmla="*/ 264773 h 701348"/>
                <a:gd name="connsiteX5" fmla="*/ 233624 w 990452"/>
                <a:gd name="connsiteY5" fmla="*/ 700364 h 701348"/>
                <a:gd name="connsiteX0" fmla="*/ 233624 w 990452"/>
                <a:gd name="connsiteY0" fmla="*/ 714898 h 715882"/>
                <a:gd name="connsiteX1" fmla="*/ 820384 w 990452"/>
                <a:gd name="connsiteY1" fmla="*/ 712311 h 715882"/>
                <a:gd name="connsiteX2" fmla="*/ 827994 w 990452"/>
                <a:gd name="connsiteY2" fmla="*/ 318669 h 715882"/>
                <a:gd name="connsiteX3" fmla="*/ 643400 w 990452"/>
                <a:gd name="connsiteY3" fmla="*/ 146366 h 715882"/>
                <a:gd name="connsiteX4" fmla="*/ 135637 w 990452"/>
                <a:gd name="connsiteY4" fmla="*/ 279307 h 715882"/>
                <a:gd name="connsiteX5" fmla="*/ 233624 w 990452"/>
                <a:gd name="connsiteY5" fmla="*/ 714898 h 715882"/>
                <a:gd name="connsiteX0" fmla="*/ 233624 w 990452"/>
                <a:gd name="connsiteY0" fmla="*/ 709283 h 710267"/>
                <a:gd name="connsiteX1" fmla="*/ 820384 w 990452"/>
                <a:gd name="connsiteY1" fmla="*/ 706696 h 710267"/>
                <a:gd name="connsiteX2" fmla="*/ 827994 w 990452"/>
                <a:gd name="connsiteY2" fmla="*/ 313054 h 710267"/>
                <a:gd name="connsiteX3" fmla="*/ 643400 w 990452"/>
                <a:gd name="connsiteY3" fmla="*/ 140751 h 710267"/>
                <a:gd name="connsiteX4" fmla="*/ 135637 w 990452"/>
                <a:gd name="connsiteY4" fmla="*/ 273692 h 710267"/>
                <a:gd name="connsiteX5" fmla="*/ 233624 w 990452"/>
                <a:gd name="connsiteY5" fmla="*/ 709283 h 710267"/>
                <a:gd name="connsiteX0" fmla="*/ 233624 w 988963"/>
                <a:gd name="connsiteY0" fmla="*/ 709283 h 716013"/>
                <a:gd name="connsiteX1" fmla="*/ 817279 w 988963"/>
                <a:gd name="connsiteY1" fmla="*/ 716013 h 716013"/>
                <a:gd name="connsiteX2" fmla="*/ 827994 w 988963"/>
                <a:gd name="connsiteY2" fmla="*/ 313054 h 716013"/>
                <a:gd name="connsiteX3" fmla="*/ 643400 w 988963"/>
                <a:gd name="connsiteY3" fmla="*/ 140751 h 716013"/>
                <a:gd name="connsiteX4" fmla="*/ 135637 w 988963"/>
                <a:gd name="connsiteY4" fmla="*/ 273692 h 716013"/>
                <a:gd name="connsiteX5" fmla="*/ 233624 w 988963"/>
                <a:gd name="connsiteY5" fmla="*/ 709283 h 716013"/>
                <a:gd name="connsiteX0" fmla="*/ 233624 w 986034"/>
                <a:gd name="connsiteY0" fmla="*/ 709283 h 716013"/>
                <a:gd name="connsiteX1" fmla="*/ 811068 w 986034"/>
                <a:gd name="connsiteY1" fmla="*/ 716013 h 716013"/>
                <a:gd name="connsiteX2" fmla="*/ 827994 w 986034"/>
                <a:gd name="connsiteY2" fmla="*/ 313054 h 716013"/>
                <a:gd name="connsiteX3" fmla="*/ 643400 w 986034"/>
                <a:gd name="connsiteY3" fmla="*/ 140751 h 716013"/>
                <a:gd name="connsiteX4" fmla="*/ 135637 w 986034"/>
                <a:gd name="connsiteY4" fmla="*/ 273692 h 716013"/>
                <a:gd name="connsiteX5" fmla="*/ 233624 w 986034"/>
                <a:gd name="connsiteY5" fmla="*/ 709283 h 716013"/>
                <a:gd name="connsiteX0" fmla="*/ 231712 w 987228"/>
                <a:gd name="connsiteY0" fmla="*/ 718600 h 718600"/>
                <a:gd name="connsiteX1" fmla="*/ 812262 w 987228"/>
                <a:gd name="connsiteY1" fmla="*/ 716013 h 718600"/>
                <a:gd name="connsiteX2" fmla="*/ 829188 w 987228"/>
                <a:gd name="connsiteY2" fmla="*/ 313054 h 718600"/>
                <a:gd name="connsiteX3" fmla="*/ 644594 w 987228"/>
                <a:gd name="connsiteY3" fmla="*/ 140751 h 718600"/>
                <a:gd name="connsiteX4" fmla="*/ 136831 w 987228"/>
                <a:gd name="connsiteY4" fmla="*/ 273692 h 718600"/>
                <a:gd name="connsiteX5" fmla="*/ 231712 w 987228"/>
                <a:gd name="connsiteY5" fmla="*/ 718600 h 718600"/>
                <a:gd name="connsiteX0" fmla="*/ 231712 w 987228"/>
                <a:gd name="connsiteY0" fmla="*/ 718600 h 718600"/>
                <a:gd name="connsiteX1" fmla="*/ 812262 w 987228"/>
                <a:gd name="connsiteY1" fmla="*/ 716013 h 718600"/>
                <a:gd name="connsiteX2" fmla="*/ 829188 w 987228"/>
                <a:gd name="connsiteY2" fmla="*/ 313054 h 718600"/>
                <a:gd name="connsiteX3" fmla="*/ 644594 w 987228"/>
                <a:gd name="connsiteY3" fmla="*/ 140751 h 718600"/>
                <a:gd name="connsiteX4" fmla="*/ 136831 w 987228"/>
                <a:gd name="connsiteY4" fmla="*/ 273692 h 718600"/>
                <a:gd name="connsiteX5" fmla="*/ 231712 w 987228"/>
                <a:gd name="connsiteY5" fmla="*/ 718600 h 718600"/>
                <a:gd name="connsiteX0" fmla="*/ 231712 w 987228"/>
                <a:gd name="connsiteY0" fmla="*/ 718600 h 718600"/>
                <a:gd name="connsiteX1" fmla="*/ 812262 w 987228"/>
                <a:gd name="connsiteY1" fmla="*/ 716013 h 718600"/>
                <a:gd name="connsiteX2" fmla="*/ 829188 w 987228"/>
                <a:gd name="connsiteY2" fmla="*/ 313054 h 718600"/>
                <a:gd name="connsiteX3" fmla="*/ 644594 w 987228"/>
                <a:gd name="connsiteY3" fmla="*/ 140751 h 718600"/>
                <a:gd name="connsiteX4" fmla="*/ 136831 w 987228"/>
                <a:gd name="connsiteY4" fmla="*/ 273692 h 718600"/>
                <a:gd name="connsiteX5" fmla="*/ 231712 w 987228"/>
                <a:gd name="connsiteY5" fmla="*/ 718600 h 718600"/>
                <a:gd name="connsiteX0" fmla="*/ 231712 w 987228"/>
                <a:gd name="connsiteY0" fmla="*/ 718600 h 718600"/>
                <a:gd name="connsiteX1" fmla="*/ 529678 w 987228"/>
                <a:gd name="connsiteY1" fmla="*/ 716789 h 718600"/>
                <a:gd name="connsiteX2" fmla="*/ 812262 w 987228"/>
                <a:gd name="connsiteY2" fmla="*/ 716013 h 718600"/>
                <a:gd name="connsiteX3" fmla="*/ 829188 w 987228"/>
                <a:gd name="connsiteY3" fmla="*/ 313054 h 718600"/>
                <a:gd name="connsiteX4" fmla="*/ 644594 w 987228"/>
                <a:gd name="connsiteY4" fmla="*/ 140751 h 718600"/>
                <a:gd name="connsiteX5" fmla="*/ 136831 w 987228"/>
                <a:gd name="connsiteY5" fmla="*/ 273692 h 718600"/>
                <a:gd name="connsiteX6" fmla="*/ 231712 w 987228"/>
                <a:gd name="connsiteY6" fmla="*/ 718600 h 718600"/>
                <a:gd name="connsiteX0" fmla="*/ 231712 w 987228"/>
                <a:gd name="connsiteY0" fmla="*/ 718600 h 718600"/>
                <a:gd name="connsiteX1" fmla="*/ 529678 w 987228"/>
                <a:gd name="connsiteY1" fmla="*/ 716789 h 718600"/>
                <a:gd name="connsiteX2" fmla="*/ 638371 w 987228"/>
                <a:gd name="connsiteY2" fmla="*/ 716789 h 718600"/>
                <a:gd name="connsiteX3" fmla="*/ 812262 w 987228"/>
                <a:gd name="connsiteY3" fmla="*/ 716013 h 718600"/>
                <a:gd name="connsiteX4" fmla="*/ 829188 w 987228"/>
                <a:gd name="connsiteY4" fmla="*/ 313054 h 718600"/>
                <a:gd name="connsiteX5" fmla="*/ 644594 w 987228"/>
                <a:gd name="connsiteY5" fmla="*/ 140751 h 718600"/>
                <a:gd name="connsiteX6" fmla="*/ 136831 w 987228"/>
                <a:gd name="connsiteY6" fmla="*/ 273692 h 718600"/>
                <a:gd name="connsiteX7" fmla="*/ 231712 w 987228"/>
                <a:gd name="connsiteY7" fmla="*/ 718600 h 718600"/>
                <a:gd name="connsiteX0" fmla="*/ 231712 w 987228"/>
                <a:gd name="connsiteY0" fmla="*/ 718600 h 719895"/>
                <a:gd name="connsiteX1" fmla="*/ 427196 w 987228"/>
                <a:gd name="connsiteY1" fmla="*/ 719895 h 719895"/>
                <a:gd name="connsiteX2" fmla="*/ 529678 w 987228"/>
                <a:gd name="connsiteY2" fmla="*/ 716789 h 719895"/>
                <a:gd name="connsiteX3" fmla="*/ 638371 w 987228"/>
                <a:gd name="connsiteY3" fmla="*/ 716789 h 719895"/>
                <a:gd name="connsiteX4" fmla="*/ 812262 w 987228"/>
                <a:gd name="connsiteY4" fmla="*/ 716013 h 719895"/>
                <a:gd name="connsiteX5" fmla="*/ 829188 w 987228"/>
                <a:gd name="connsiteY5" fmla="*/ 313054 h 719895"/>
                <a:gd name="connsiteX6" fmla="*/ 644594 w 987228"/>
                <a:gd name="connsiteY6" fmla="*/ 140751 h 719895"/>
                <a:gd name="connsiteX7" fmla="*/ 136831 w 987228"/>
                <a:gd name="connsiteY7" fmla="*/ 273692 h 719895"/>
                <a:gd name="connsiteX8" fmla="*/ 231712 w 987228"/>
                <a:gd name="connsiteY8" fmla="*/ 718600 h 719895"/>
                <a:gd name="connsiteX0" fmla="*/ 231712 w 987228"/>
                <a:gd name="connsiteY0" fmla="*/ 718600 h 718600"/>
                <a:gd name="connsiteX1" fmla="*/ 428111 w 987228"/>
                <a:gd name="connsiteY1" fmla="*/ 716236 h 718600"/>
                <a:gd name="connsiteX2" fmla="*/ 529678 w 987228"/>
                <a:gd name="connsiteY2" fmla="*/ 716789 h 718600"/>
                <a:gd name="connsiteX3" fmla="*/ 638371 w 987228"/>
                <a:gd name="connsiteY3" fmla="*/ 716789 h 718600"/>
                <a:gd name="connsiteX4" fmla="*/ 812262 w 987228"/>
                <a:gd name="connsiteY4" fmla="*/ 716013 h 718600"/>
                <a:gd name="connsiteX5" fmla="*/ 829188 w 987228"/>
                <a:gd name="connsiteY5" fmla="*/ 313054 h 718600"/>
                <a:gd name="connsiteX6" fmla="*/ 644594 w 987228"/>
                <a:gd name="connsiteY6" fmla="*/ 140751 h 718600"/>
                <a:gd name="connsiteX7" fmla="*/ 136831 w 987228"/>
                <a:gd name="connsiteY7" fmla="*/ 273692 h 718600"/>
                <a:gd name="connsiteX8" fmla="*/ 231712 w 987228"/>
                <a:gd name="connsiteY8" fmla="*/ 718600 h 718600"/>
                <a:gd name="connsiteX0" fmla="*/ 231712 w 987228"/>
                <a:gd name="connsiteY0" fmla="*/ 716771 h 716789"/>
                <a:gd name="connsiteX1" fmla="*/ 428111 w 987228"/>
                <a:gd name="connsiteY1" fmla="*/ 716236 h 716789"/>
                <a:gd name="connsiteX2" fmla="*/ 529678 w 987228"/>
                <a:gd name="connsiteY2" fmla="*/ 716789 h 716789"/>
                <a:gd name="connsiteX3" fmla="*/ 638371 w 987228"/>
                <a:gd name="connsiteY3" fmla="*/ 716789 h 716789"/>
                <a:gd name="connsiteX4" fmla="*/ 812262 w 987228"/>
                <a:gd name="connsiteY4" fmla="*/ 716013 h 716789"/>
                <a:gd name="connsiteX5" fmla="*/ 829188 w 987228"/>
                <a:gd name="connsiteY5" fmla="*/ 313054 h 716789"/>
                <a:gd name="connsiteX6" fmla="*/ 644594 w 987228"/>
                <a:gd name="connsiteY6" fmla="*/ 140751 h 716789"/>
                <a:gd name="connsiteX7" fmla="*/ 136831 w 987228"/>
                <a:gd name="connsiteY7" fmla="*/ 273692 h 716789"/>
                <a:gd name="connsiteX8" fmla="*/ 231712 w 987228"/>
                <a:gd name="connsiteY8" fmla="*/ 716771 h 716789"/>
                <a:gd name="connsiteX0" fmla="*/ 231712 w 987228"/>
                <a:gd name="connsiteY0" fmla="*/ 716771 h 716789"/>
                <a:gd name="connsiteX1" fmla="*/ 428111 w 987228"/>
                <a:gd name="connsiteY1" fmla="*/ 716236 h 716789"/>
                <a:gd name="connsiteX2" fmla="*/ 529678 w 987228"/>
                <a:gd name="connsiteY2" fmla="*/ 716789 h 716789"/>
                <a:gd name="connsiteX3" fmla="*/ 637456 w 987228"/>
                <a:gd name="connsiteY3" fmla="*/ 716789 h 716789"/>
                <a:gd name="connsiteX4" fmla="*/ 812262 w 987228"/>
                <a:gd name="connsiteY4" fmla="*/ 716013 h 716789"/>
                <a:gd name="connsiteX5" fmla="*/ 829188 w 987228"/>
                <a:gd name="connsiteY5" fmla="*/ 313054 h 716789"/>
                <a:gd name="connsiteX6" fmla="*/ 644594 w 987228"/>
                <a:gd name="connsiteY6" fmla="*/ 140751 h 716789"/>
                <a:gd name="connsiteX7" fmla="*/ 136831 w 987228"/>
                <a:gd name="connsiteY7" fmla="*/ 273692 h 716789"/>
                <a:gd name="connsiteX8" fmla="*/ 231712 w 987228"/>
                <a:gd name="connsiteY8" fmla="*/ 716771 h 716789"/>
                <a:gd name="connsiteX0" fmla="*/ 231712 w 987228"/>
                <a:gd name="connsiteY0" fmla="*/ 716771 h 716789"/>
                <a:gd name="connsiteX1" fmla="*/ 428111 w 987228"/>
                <a:gd name="connsiteY1" fmla="*/ 716236 h 716789"/>
                <a:gd name="connsiteX2" fmla="*/ 529678 w 987228"/>
                <a:gd name="connsiteY2" fmla="*/ 715874 h 716789"/>
                <a:gd name="connsiteX3" fmla="*/ 637456 w 987228"/>
                <a:gd name="connsiteY3" fmla="*/ 716789 h 716789"/>
                <a:gd name="connsiteX4" fmla="*/ 812262 w 987228"/>
                <a:gd name="connsiteY4" fmla="*/ 716013 h 716789"/>
                <a:gd name="connsiteX5" fmla="*/ 829188 w 987228"/>
                <a:gd name="connsiteY5" fmla="*/ 313054 h 716789"/>
                <a:gd name="connsiteX6" fmla="*/ 644594 w 987228"/>
                <a:gd name="connsiteY6" fmla="*/ 140751 h 716789"/>
                <a:gd name="connsiteX7" fmla="*/ 136831 w 987228"/>
                <a:gd name="connsiteY7" fmla="*/ 273692 h 716789"/>
                <a:gd name="connsiteX8" fmla="*/ 231712 w 987228"/>
                <a:gd name="connsiteY8" fmla="*/ 716771 h 716789"/>
                <a:gd name="connsiteX0" fmla="*/ 231712 w 985625"/>
                <a:gd name="connsiteY0" fmla="*/ 716771 h 716789"/>
                <a:gd name="connsiteX1" fmla="*/ 428111 w 985625"/>
                <a:gd name="connsiteY1" fmla="*/ 716236 h 716789"/>
                <a:gd name="connsiteX2" fmla="*/ 529678 w 985625"/>
                <a:gd name="connsiteY2" fmla="*/ 715874 h 716789"/>
                <a:gd name="connsiteX3" fmla="*/ 637456 w 985625"/>
                <a:gd name="connsiteY3" fmla="*/ 716789 h 716789"/>
                <a:gd name="connsiteX4" fmla="*/ 812262 w 985625"/>
                <a:gd name="connsiteY4" fmla="*/ 716013 h 716789"/>
                <a:gd name="connsiteX5" fmla="*/ 985568 w 985625"/>
                <a:gd name="connsiteY5" fmla="*/ 514653 h 716789"/>
                <a:gd name="connsiteX6" fmla="*/ 829188 w 985625"/>
                <a:gd name="connsiteY6" fmla="*/ 313054 h 716789"/>
                <a:gd name="connsiteX7" fmla="*/ 644594 w 985625"/>
                <a:gd name="connsiteY7" fmla="*/ 140751 h 716789"/>
                <a:gd name="connsiteX8" fmla="*/ 136831 w 985625"/>
                <a:gd name="connsiteY8" fmla="*/ 273692 h 716789"/>
                <a:gd name="connsiteX9" fmla="*/ 231712 w 985625"/>
                <a:gd name="connsiteY9" fmla="*/ 716771 h 716789"/>
                <a:gd name="connsiteX0" fmla="*/ 231712 w 988782"/>
                <a:gd name="connsiteY0" fmla="*/ 716771 h 716789"/>
                <a:gd name="connsiteX1" fmla="*/ 428111 w 988782"/>
                <a:gd name="connsiteY1" fmla="*/ 716236 h 716789"/>
                <a:gd name="connsiteX2" fmla="*/ 529678 w 988782"/>
                <a:gd name="connsiteY2" fmla="*/ 715874 h 716789"/>
                <a:gd name="connsiteX3" fmla="*/ 637456 w 988782"/>
                <a:gd name="connsiteY3" fmla="*/ 716789 h 716789"/>
                <a:gd name="connsiteX4" fmla="*/ 812262 w 988782"/>
                <a:gd name="connsiteY4" fmla="*/ 716013 h 716789"/>
                <a:gd name="connsiteX5" fmla="*/ 985568 w 988782"/>
                <a:gd name="connsiteY5" fmla="*/ 514653 h 716789"/>
                <a:gd name="connsiteX6" fmla="*/ 917879 w 988782"/>
                <a:gd name="connsiteY6" fmla="*/ 401229 h 716789"/>
                <a:gd name="connsiteX7" fmla="*/ 829188 w 988782"/>
                <a:gd name="connsiteY7" fmla="*/ 313054 h 716789"/>
                <a:gd name="connsiteX8" fmla="*/ 644594 w 988782"/>
                <a:gd name="connsiteY8" fmla="*/ 140751 h 716789"/>
                <a:gd name="connsiteX9" fmla="*/ 136831 w 988782"/>
                <a:gd name="connsiteY9" fmla="*/ 273692 h 716789"/>
                <a:gd name="connsiteX10" fmla="*/ 231712 w 988782"/>
                <a:gd name="connsiteY10" fmla="*/ 716771 h 716789"/>
                <a:gd name="connsiteX0" fmla="*/ 231712 w 988782"/>
                <a:gd name="connsiteY0" fmla="*/ 716771 h 716789"/>
                <a:gd name="connsiteX1" fmla="*/ 428111 w 988782"/>
                <a:gd name="connsiteY1" fmla="*/ 716236 h 716789"/>
                <a:gd name="connsiteX2" fmla="*/ 529678 w 988782"/>
                <a:gd name="connsiteY2" fmla="*/ 715874 h 716789"/>
                <a:gd name="connsiteX3" fmla="*/ 637456 w 988782"/>
                <a:gd name="connsiteY3" fmla="*/ 716789 h 716789"/>
                <a:gd name="connsiteX4" fmla="*/ 812262 w 988782"/>
                <a:gd name="connsiteY4" fmla="*/ 716013 h 716789"/>
                <a:gd name="connsiteX5" fmla="*/ 928855 w 988782"/>
                <a:gd name="connsiteY5" fmla="*/ 615272 h 716789"/>
                <a:gd name="connsiteX6" fmla="*/ 985568 w 988782"/>
                <a:gd name="connsiteY6" fmla="*/ 514653 h 716789"/>
                <a:gd name="connsiteX7" fmla="*/ 917879 w 988782"/>
                <a:gd name="connsiteY7" fmla="*/ 401229 h 716789"/>
                <a:gd name="connsiteX8" fmla="*/ 829188 w 988782"/>
                <a:gd name="connsiteY8" fmla="*/ 313054 h 716789"/>
                <a:gd name="connsiteX9" fmla="*/ 644594 w 988782"/>
                <a:gd name="connsiteY9" fmla="*/ 140751 h 716789"/>
                <a:gd name="connsiteX10" fmla="*/ 136831 w 988782"/>
                <a:gd name="connsiteY10" fmla="*/ 273692 h 716789"/>
                <a:gd name="connsiteX11" fmla="*/ 231712 w 988782"/>
                <a:gd name="connsiteY11" fmla="*/ 716771 h 716789"/>
                <a:gd name="connsiteX0" fmla="*/ 237020 w 994090"/>
                <a:gd name="connsiteY0" fmla="*/ 716771 h 716789"/>
                <a:gd name="connsiteX1" fmla="*/ 433419 w 994090"/>
                <a:gd name="connsiteY1" fmla="*/ 716236 h 716789"/>
                <a:gd name="connsiteX2" fmla="*/ 534986 w 994090"/>
                <a:gd name="connsiteY2" fmla="*/ 715874 h 716789"/>
                <a:gd name="connsiteX3" fmla="*/ 642764 w 994090"/>
                <a:gd name="connsiteY3" fmla="*/ 716789 h 716789"/>
                <a:gd name="connsiteX4" fmla="*/ 817570 w 994090"/>
                <a:gd name="connsiteY4" fmla="*/ 716013 h 716789"/>
                <a:gd name="connsiteX5" fmla="*/ 934163 w 994090"/>
                <a:gd name="connsiteY5" fmla="*/ 615272 h 716789"/>
                <a:gd name="connsiteX6" fmla="*/ 990876 w 994090"/>
                <a:gd name="connsiteY6" fmla="*/ 514653 h 716789"/>
                <a:gd name="connsiteX7" fmla="*/ 923187 w 994090"/>
                <a:gd name="connsiteY7" fmla="*/ 401229 h 716789"/>
                <a:gd name="connsiteX8" fmla="*/ 834496 w 994090"/>
                <a:gd name="connsiteY8" fmla="*/ 313054 h 716789"/>
                <a:gd name="connsiteX9" fmla="*/ 649902 w 994090"/>
                <a:gd name="connsiteY9" fmla="*/ 140751 h 716789"/>
                <a:gd name="connsiteX10" fmla="*/ 142139 w 994090"/>
                <a:gd name="connsiteY10" fmla="*/ 273692 h 716789"/>
                <a:gd name="connsiteX11" fmla="*/ 2983 w 994090"/>
                <a:gd name="connsiteY11" fmla="*/ 499103 h 716789"/>
                <a:gd name="connsiteX12" fmla="*/ 237020 w 994090"/>
                <a:gd name="connsiteY12" fmla="*/ 716771 h 716789"/>
                <a:gd name="connsiteX0" fmla="*/ 247228 w 1004298"/>
                <a:gd name="connsiteY0" fmla="*/ 716771 h 716789"/>
                <a:gd name="connsiteX1" fmla="*/ 443627 w 1004298"/>
                <a:gd name="connsiteY1" fmla="*/ 716236 h 716789"/>
                <a:gd name="connsiteX2" fmla="*/ 545194 w 1004298"/>
                <a:gd name="connsiteY2" fmla="*/ 715874 h 716789"/>
                <a:gd name="connsiteX3" fmla="*/ 652972 w 1004298"/>
                <a:gd name="connsiteY3" fmla="*/ 716789 h 716789"/>
                <a:gd name="connsiteX4" fmla="*/ 827778 w 1004298"/>
                <a:gd name="connsiteY4" fmla="*/ 716013 h 716789"/>
                <a:gd name="connsiteX5" fmla="*/ 944371 w 1004298"/>
                <a:gd name="connsiteY5" fmla="*/ 615272 h 716789"/>
                <a:gd name="connsiteX6" fmla="*/ 1001084 w 1004298"/>
                <a:gd name="connsiteY6" fmla="*/ 514653 h 716789"/>
                <a:gd name="connsiteX7" fmla="*/ 933395 w 1004298"/>
                <a:gd name="connsiteY7" fmla="*/ 401229 h 716789"/>
                <a:gd name="connsiteX8" fmla="*/ 844704 w 1004298"/>
                <a:gd name="connsiteY8" fmla="*/ 313054 h 716789"/>
                <a:gd name="connsiteX9" fmla="*/ 660110 w 1004298"/>
                <a:gd name="connsiteY9" fmla="*/ 140751 h 716789"/>
                <a:gd name="connsiteX10" fmla="*/ 152347 w 1004298"/>
                <a:gd name="connsiteY10" fmla="*/ 273692 h 716789"/>
                <a:gd name="connsiteX11" fmla="*/ 42462 w 1004298"/>
                <a:gd name="connsiteY11" fmla="*/ 371958 h 716789"/>
                <a:gd name="connsiteX12" fmla="*/ 13191 w 1004298"/>
                <a:gd name="connsiteY12" fmla="*/ 499103 h 716789"/>
                <a:gd name="connsiteX13" fmla="*/ 247228 w 1004298"/>
                <a:gd name="connsiteY13" fmla="*/ 716771 h 716789"/>
                <a:gd name="connsiteX0" fmla="*/ 236041 w 993111"/>
                <a:gd name="connsiteY0" fmla="*/ 716771 h 716789"/>
                <a:gd name="connsiteX1" fmla="*/ 432440 w 993111"/>
                <a:gd name="connsiteY1" fmla="*/ 716236 h 716789"/>
                <a:gd name="connsiteX2" fmla="*/ 534007 w 993111"/>
                <a:gd name="connsiteY2" fmla="*/ 715874 h 716789"/>
                <a:gd name="connsiteX3" fmla="*/ 641785 w 993111"/>
                <a:gd name="connsiteY3" fmla="*/ 716789 h 716789"/>
                <a:gd name="connsiteX4" fmla="*/ 816591 w 993111"/>
                <a:gd name="connsiteY4" fmla="*/ 716013 h 716789"/>
                <a:gd name="connsiteX5" fmla="*/ 933184 w 993111"/>
                <a:gd name="connsiteY5" fmla="*/ 615272 h 716789"/>
                <a:gd name="connsiteX6" fmla="*/ 989897 w 993111"/>
                <a:gd name="connsiteY6" fmla="*/ 514653 h 716789"/>
                <a:gd name="connsiteX7" fmla="*/ 922208 w 993111"/>
                <a:gd name="connsiteY7" fmla="*/ 401229 h 716789"/>
                <a:gd name="connsiteX8" fmla="*/ 833517 w 993111"/>
                <a:gd name="connsiteY8" fmla="*/ 313054 h 716789"/>
                <a:gd name="connsiteX9" fmla="*/ 648923 w 993111"/>
                <a:gd name="connsiteY9" fmla="*/ 140751 h 716789"/>
                <a:gd name="connsiteX10" fmla="*/ 141160 w 993111"/>
                <a:gd name="connsiteY10" fmla="*/ 273692 h 716789"/>
                <a:gd name="connsiteX11" fmla="*/ 31275 w 993111"/>
                <a:gd name="connsiteY11" fmla="*/ 371958 h 716789"/>
                <a:gd name="connsiteX12" fmla="*/ 2004 w 993111"/>
                <a:gd name="connsiteY12" fmla="*/ 499103 h 716789"/>
                <a:gd name="connsiteX13" fmla="*/ 75181 w 993111"/>
                <a:gd name="connsiteY13" fmla="*/ 603381 h 716789"/>
                <a:gd name="connsiteX14" fmla="*/ 236041 w 993111"/>
                <a:gd name="connsiteY14" fmla="*/ 716771 h 716789"/>
                <a:gd name="connsiteX0" fmla="*/ 236041 w 993111"/>
                <a:gd name="connsiteY0" fmla="*/ 720886 h 720904"/>
                <a:gd name="connsiteX1" fmla="*/ 432440 w 993111"/>
                <a:gd name="connsiteY1" fmla="*/ 720351 h 720904"/>
                <a:gd name="connsiteX2" fmla="*/ 534007 w 993111"/>
                <a:gd name="connsiteY2" fmla="*/ 719989 h 720904"/>
                <a:gd name="connsiteX3" fmla="*/ 641785 w 993111"/>
                <a:gd name="connsiteY3" fmla="*/ 720904 h 720904"/>
                <a:gd name="connsiteX4" fmla="*/ 816591 w 993111"/>
                <a:gd name="connsiteY4" fmla="*/ 720128 h 720904"/>
                <a:gd name="connsiteX5" fmla="*/ 933184 w 993111"/>
                <a:gd name="connsiteY5" fmla="*/ 619387 h 720904"/>
                <a:gd name="connsiteX6" fmla="*/ 989897 w 993111"/>
                <a:gd name="connsiteY6" fmla="*/ 518768 h 720904"/>
                <a:gd name="connsiteX7" fmla="*/ 922208 w 993111"/>
                <a:gd name="connsiteY7" fmla="*/ 405344 h 720904"/>
                <a:gd name="connsiteX8" fmla="*/ 833517 w 993111"/>
                <a:gd name="connsiteY8" fmla="*/ 317169 h 720904"/>
                <a:gd name="connsiteX9" fmla="*/ 648923 w 993111"/>
                <a:gd name="connsiteY9" fmla="*/ 144866 h 720904"/>
                <a:gd name="connsiteX10" fmla="*/ 408138 w 993111"/>
                <a:gd name="connsiteY10" fmla="*/ 2869 h 720904"/>
                <a:gd name="connsiteX11" fmla="*/ 141160 w 993111"/>
                <a:gd name="connsiteY11" fmla="*/ 277807 h 720904"/>
                <a:gd name="connsiteX12" fmla="*/ 31275 w 993111"/>
                <a:gd name="connsiteY12" fmla="*/ 376073 h 720904"/>
                <a:gd name="connsiteX13" fmla="*/ 2004 w 993111"/>
                <a:gd name="connsiteY13" fmla="*/ 503218 h 720904"/>
                <a:gd name="connsiteX14" fmla="*/ 75181 w 993111"/>
                <a:gd name="connsiteY14" fmla="*/ 607496 h 720904"/>
                <a:gd name="connsiteX15" fmla="*/ 236041 w 993111"/>
                <a:gd name="connsiteY15" fmla="*/ 720886 h 720904"/>
                <a:gd name="connsiteX0" fmla="*/ 236041 w 993111"/>
                <a:gd name="connsiteY0" fmla="*/ 720886 h 720904"/>
                <a:gd name="connsiteX1" fmla="*/ 432440 w 993111"/>
                <a:gd name="connsiteY1" fmla="*/ 720351 h 720904"/>
                <a:gd name="connsiteX2" fmla="*/ 534007 w 993111"/>
                <a:gd name="connsiteY2" fmla="*/ 719989 h 720904"/>
                <a:gd name="connsiteX3" fmla="*/ 641785 w 993111"/>
                <a:gd name="connsiteY3" fmla="*/ 720904 h 720904"/>
                <a:gd name="connsiteX4" fmla="*/ 816591 w 993111"/>
                <a:gd name="connsiteY4" fmla="*/ 720128 h 720904"/>
                <a:gd name="connsiteX5" fmla="*/ 933184 w 993111"/>
                <a:gd name="connsiteY5" fmla="*/ 619387 h 720904"/>
                <a:gd name="connsiteX6" fmla="*/ 989897 w 993111"/>
                <a:gd name="connsiteY6" fmla="*/ 518768 h 720904"/>
                <a:gd name="connsiteX7" fmla="*/ 922208 w 993111"/>
                <a:gd name="connsiteY7" fmla="*/ 405344 h 720904"/>
                <a:gd name="connsiteX8" fmla="*/ 833517 w 993111"/>
                <a:gd name="connsiteY8" fmla="*/ 317169 h 720904"/>
                <a:gd name="connsiteX9" fmla="*/ 648923 w 993111"/>
                <a:gd name="connsiteY9" fmla="*/ 144866 h 720904"/>
                <a:gd name="connsiteX10" fmla="*/ 408138 w 993111"/>
                <a:gd name="connsiteY10" fmla="*/ 2869 h 720904"/>
                <a:gd name="connsiteX11" fmla="*/ 258124 w 993111"/>
                <a:gd name="connsiteY11" fmla="*/ 133673 h 720904"/>
                <a:gd name="connsiteX12" fmla="*/ 141160 w 993111"/>
                <a:gd name="connsiteY12" fmla="*/ 277807 h 720904"/>
                <a:gd name="connsiteX13" fmla="*/ 31275 w 993111"/>
                <a:gd name="connsiteY13" fmla="*/ 376073 h 720904"/>
                <a:gd name="connsiteX14" fmla="*/ 2004 w 993111"/>
                <a:gd name="connsiteY14" fmla="*/ 503218 h 720904"/>
                <a:gd name="connsiteX15" fmla="*/ 75181 w 993111"/>
                <a:gd name="connsiteY15" fmla="*/ 607496 h 720904"/>
                <a:gd name="connsiteX16" fmla="*/ 236041 w 993111"/>
                <a:gd name="connsiteY16" fmla="*/ 720886 h 720904"/>
                <a:gd name="connsiteX0" fmla="*/ 236041 w 993111"/>
                <a:gd name="connsiteY0" fmla="*/ 720886 h 720904"/>
                <a:gd name="connsiteX1" fmla="*/ 432440 w 993111"/>
                <a:gd name="connsiteY1" fmla="*/ 720351 h 720904"/>
                <a:gd name="connsiteX2" fmla="*/ 534007 w 993111"/>
                <a:gd name="connsiteY2" fmla="*/ 719989 h 720904"/>
                <a:gd name="connsiteX3" fmla="*/ 641785 w 993111"/>
                <a:gd name="connsiteY3" fmla="*/ 720904 h 720904"/>
                <a:gd name="connsiteX4" fmla="*/ 816591 w 993111"/>
                <a:gd name="connsiteY4" fmla="*/ 720128 h 720904"/>
                <a:gd name="connsiteX5" fmla="*/ 933184 w 993111"/>
                <a:gd name="connsiteY5" fmla="*/ 619387 h 720904"/>
                <a:gd name="connsiteX6" fmla="*/ 989897 w 993111"/>
                <a:gd name="connsiteY6" fmla="*/ 518768 h 720904"/>
                <a:gd name="connsiteX7" fmla="*/ 922208 w 993111"/>
                <a:gd name="connsiteY7" fmla="*/ 405344 h 720904"/>
                <a:gd name="connsiteX8" fmla="*/ 833517 w 993111"/>
                <a:gd name="connsiteY8" fmla="*/ 317169 h 720904"/>
                <a:gd name="connsiteX9" fmla="*/ 817930 w 993111"/>
                <a:gd name="connsiteY9" fmla="*/ 157456 h 720904"/>
                <a:gd name="connsiteX10" fmla="*/ 648923 w 993111"/>
                <a:gd name="connsiteY10" fmla="*/ 144866 h 720904"/>
                <a:gd name="connsiteX11" fmla="*/ 408138 w 993111"/>
                <a:gd name="connsiteY11" fmla="*/ 2869 h 720904"/>
                <a:gd name="connsiteX12" fmla="*/ 258124 w 993111"/>
                <a:gd name="connsiteY12" fmla="*/ 133673 h 720904"/>
                <a:gd name="connsiteX13" fmla="*/ 141160 w 993111"/>
                <a:gd name="connsiteY13" fmla="*/ 277807 h 720904"/>
                <a:gd name="connsiteX14" fmla="*/ 31275 w 993111"/>
                <a:gd name="connsiteY14" fmla="*/ 376073 h 720904"/>
                <a:gd name="connsiteX15" fmla="*/ 2004 w 993111"/>
                <a:gd name="connsiteY15" fmla="*/ 503218 h 720904"/>
                <a:gd name="connsiteX16" fmla="*/ 75181 w 993111"/>
                <a:gd name="connsiteY16" fmla="*/ 607496 h 720904"/>
                <a:gd name="connsiteX17" fmla="*/ 236041 w 993111"/>
                <a:gd name="connsiteY17" fmla="*/ 720886 h 720904"/>
                <a:gd name="connsiteX0" fmla="*/ 236041 w 993111"/>
                <a:gd name="connsiteY0" fmla="*/ 718192 h 718210"/>
                <a:gd name="connsiteX1" fmla="*/ 432440 w 993111"/>
                <a:gd name="connsiteY1" fmla="*/ 717657 h 718210"/>
                <a:gd name="connsiteX2" fmla="*/ 534007 w 993111"/>
                <a:gd name="connsiteY2" fmla="*/ 717295 h 718210"/>
                <a:gd name="connsiteX3" fmla="*/ 641785 w 993111"/>
                <a:gd name="connsiteY3" fmla="*/ 718210 h 718210"/>
                <a:gd name="connsiteX4" fmla="*/ 816591 w 993111"/>
                <a:gd name="connsiteY4" fmla="*/ 717434 h 718210"/>
                <a:gd name="connsiteX5" fmla="*/ 933184 w 993111"/>
                <a:gd name="connsiteY5" fmla="*/ 616693 h 718210"/>
                <a:gd name="connsiteX6" fmla="*/ 989897 w 993111"/>
                <a:gd name="connsiteY6" fmla="*/ 516074 h 718210"/>
                <a:gd name="connsiteX7" fmla="*/ 922208 w 993111"/>
                <a:gd name="connsiteY7" fmla="*/ 402650 h 718210"/>
                <a:gd name="connsiteX8" fmla="*/ 833517 w 993111"/>
                <a:gd name="connsiteY8" fmla="*/ 314475 h 718210"/>
                <a:gd name="connsiteX9" fmla="*/ 817930 w 993111"/>
                <a:gd name="connsiteY9" fmla="*/ 154762 h 718210"/>
                <a:gd name="connsiteX10" fmla="*/ 648923 w 993111"/>
                <a:gd name="connsiteY10" fmla="*/ 142172 h 718210"/>
                <a:gd name="connsiteX11" fmla="*/ 408138 w 993111"/>
                <a:gd name="connsiteY11" fmla="*/ 175 h 718210"/>
                <a:gd name="connsiteX12" fmla="*/ 258124 w 993111"/>
                <a:gd name="connsiteY12" fmla="*/ 130979 h 718210"/>
                <a:gd name="connsiteX13" fmla="*/ 141160 w 993111"/>
                <a:gd name="connsiteY13" fmla="*/ 275113 h 718210"/>
                <a:gd name="connsiteX14" fmla="*/ 31275 w 993111"/>
                <a:gd name="connsiteY14" fmla="*/ 373379 h 718210"/>
                <a:gd name="connsiteX15" fmla="*/ 2004 w 993111"/>
                <a:gd name="connsiteY15" fmla="*/ 500524 h 718210"/>
                <a:gd name="connsiteX16" fmla="*/ 75181 w 993111"/>
                <a:gd name="connsiteY16" fmla="*/ 604802 h 718210"/>
                <a:gd name="connsiteX17" fmla="*/ 236041 w 993111"/>
                <a:gd name="connsiteY17" fmla="*/ 718192 h 718210"/>
                <a:gd name="connsiteX0" fmla="*/ 236041 w 993111"/>
                <a:gd name="connsiteY0" fmla="*/ 718243 h 718261"/>
                <a:gd name="connsiteX1" fmla="*/ 432440 w 993111"/>
                <a:gd name="connsiteY1" fmla="*/ 717708 h 718261"/>
                <a:gd name="connsiteX2" fmla="*/ 534007 w 993111"/>
                <a:gd name="connsiteY2" fmla="*/ 717346 h 718261"/>
                <a:gd name="connsiteX3" fmla="*/ 641785 w 993111"/>
                <a:gd name="connsiteY3" fmla="*/ 718261 h 718261"/>
                <a:gd name="connsiteX4" fmla="*/ 816591 w 993111"/>
                <a:gd name="connsiteY4" fmla="*/ 717485 h 718261"/>
                <a:gd name="connsiteX5" fmla="*/ 933184 w 993111"/>
                <a:gd name="connsiteY5" fmla="*/ 616744 h 718261"/>
                <a:gd name="connsiteX6" fmla="*/ 989897 w 993111"/>
                <a:gd name="connsiteY6" fmla="*/ 516125 h 718261"/>
                <a:gd name="connsiteX7" fmla="*/ 922208 w 993111"/>
                <a:gd name="connsiteY7" fmla="*/ 402701 h 718261"/>
                <a:gd name="connsiteX8" fmla="*/ 833517 w 993111"/>
                <a:gd name="connsiteY8" fmla="*/ 314526 h 718261"/>
                <a:gd name="connsiteX9" fmla="*/ 817930 w 993111"/>
                <a:gd name="connsiteY9" fmla="*/ 154813 h 718261"/>
                <a:gd name="connsiteX10" fmla="*/ 648923 w 993111"/>
                <a:gd name="connsiteY10" fmla="*/ 142223 h 718261"/>
                <a:gd name="connsiteX11" fmla="*/ 408138 w 993111"/>
                <a:gd name="connsiteY11" fmla="*/ 226 h 718261"/>
                <a:gd name="connsiteX12" fmla="*/ 258124 w 993111"/>
                <a:gd name="connsiteY12" fmla="*/ 131030 h 718261"/>
                <a:gd name="connsiteX13" fmla="*/ 141160 w 993111"/>
                <a:gd name="connsiteY13" fmla="*/ 275164 h 718261"/>
                <a:gd name="connsiteX14" fmla="*/ 31275 w 993111"/>
                <a:gd name="connsiteY14" fmla="*/ 373430 h 718261"/>
                <a:gd name="connsiteX15" fmla="*/ 2004 w 993111"/>
                <a:gd name="connsiteY15" fmla="*/ 500575 h 718261"/>
                <a:gd name="connsiteX16" fmla="*/ 75181 w 993111"/>
                <a:gd name="connsiteY16" fmla="*/ 604853 h 718261"/>
                <a:gd name="connsiteX17" fmla="*/ 236041 w 993111"/>
                <a:gd name="connsiteY17" fmla="*/ 718243 h 718261"/>
                <a:gd name="connsiteX0" fmla="*/ 236041 w 993111"/>
                <a:gd name="connsiteY0" fmla="*/ 718243 h 718261"/>
                <a:gd name="connsiteX1" fmla="*/ 432440 w 993111"/>
                <a:gd name="connsiteY1" fmla="*/ 717708 h 718261"/>
                <a:gd name="connsiteX2" fmla="*/ 534007 w 993111"/>
                <a:gd name="connsiteY2" fmla="*/ 717346 h 718261"/>
                <a:gd name="connsiteX3" fmla="*/ 641785 w 993111"/>
                <a:gd name="connsiteY3" fmla="*/ 718261 h 718261"/>
                <a:gd name="connsiteX4" fmla="*/ 816591 w 993111"/>
                <a:gd name="connsiteY4" fmla="*/ 717485 h 718261"/>
                <a:gd name="connsiteX5" fmla="*/ 933184 w 993111"/>
                <a:gd name="connsiteY5" fmla="*/ 616744 h 718261"/>
                <a:gd name="connsiteX6" fmla="*/ 989897 w 993111"/>
                <a:gd name="connsiteY6" fmla="*/ 516125 h 718261"/>
                <a:gd name="connsiteX7" fmla="*/ 922208 w 993111"/>
                <a:gd name="connsiteY7" fmla="*/ 402701 h 718261"/>
                <a:gd name="connsiteX8" fmla="*/ 833517 w 993111"/>
                <a:gd name="connsiteY8" fmla="*/ 314526 h 718261"/>
                <a:gd name="connsiteX9" fmla="*/ 817930 w 993111"/>
                <a:gd name="connsiteY9" fmla="*/ 154813 h 718261"/>
                <a:gd name="connsiteX10" fmla="*/ 648923 w 993111"/>
                <a:gd name="connsiteY10" fmla="*/ 142223 h 718261"/>
                <a:gd name="connsiteX11" fmla="*/ 408138 w 993111"/>
                <a:gd name="connsiteY11" fmla="*/ 226 h 718261"/>
                <a:gd name="connsiteX12" fmla="*/ 258124 w 993111"/>
                <a:gd name="connsiteY12" fmla="*/ 131030 h 718261"/>
                <a:gd name="connsiteX13" fmla="*/ 141160 w 993111"/>
                <a:gd name="connsiteY13" fmla="*/ 275164 h 718261"/>
                <a:gd name="connsiteX14" fmla="*/ 31275 w 993111"/>
                <a:gd name="connsiteY14" fmla="*/ 373430 h 718261"/>
                <a:gd name="connsiteX15" fmla="*/ 2004 w 993111"/>
                <a:gd name="connsiteY15" fmla="*/ 500575 h 718261"/>
                <a:gd name="connsiteX16" fmla="*/ 75181 w 993111"/>
                <a:gd name="connsiteY16" fmla="*/ 604853 h 718261"/>
                <a:gd name="connsiteX17" fmla="*/ 236041 w 993111"/>
                <a:gd name="connsiteY17" fmla="*/ 718243 h 718261"/>
                <a:gd name="connsiteX0" fmla="*/ 236041 w 993111"/>
                <a:gd name="connsiteY0" fmla="*/ 718243 h 718261"/>
                <a:gd name="connsiteX1" fmla="*/ 432440 w 993111"/>
                <a:gd name="connsiteY1" fmla="*/ 717708 h 718261"/>
                <a:gd name="connsiteX2" fmla="*/ 534007 w 993111"/>
                <a:gd name="connsiteY2" fmla="*/ 717346 h 718261"/>
                <a:gd name="connsiteX3" fmla="*/ 641785 w 993111"/>
                <a:gd name="connsiteY3" fmla="*/ 718261 h 718261"/>
                <a:gd name="connsiteX4" fmla="*/ 816591 w 993111"/>
                <a:gd name="connsiteY4" fmla="*/ 717485 h 718261"/>
                <a:gd name="connsiteX5" fmla="*/ 933184 w 993111"/>
                <a:gd name="connsiteY5" fmla="*/ 616744 h 718261"/>
                <a:gd name="connsiteX6" fmla="*/ 989897 w 993111"/>
                <a:gd name="connsiteY6" fmla="*/ 516125 h 718261"/>
                <a:gd name="connsiteX7" fmla="*/ 922208 w 993111"/>
                <a:gd name="connsiteY7" fmla="*/ 402701 h 718261"/>
                <a:gd name="connsiteX8" fmla="*/ 833517 w 993111"/>
                <a:gd name="connsiteY8" fmla="*/ 314526 h 718261"/>
                <a:gd name="connsiteX9" fmla="*/ 817930 w 993111"/>
                <a:gd name="connsiteY9" fmla="*/ 154813 h 718261"/>
                <a:gd name="connsiteX10" fmla="*/ 648923 w 993111"/>
                <a:gd name="connsiteY10" fmla="*/ 142223 h 718261"/>
                <a:gd name="connsiteX11" fmla="*/ 408138 w 993111"/>
                <a:gd name="connsiteY11" fmla="*/ 226 h 718261"/>
                <a:gd name="connsiteX12" fmla="*/ 258124 w 993111"/>
                <a:gd name="connsiteY12" fmla="*/ 131030 h 718261"/>
                <a:gd name="connsiteX13" fmla="*/ 141160 w 993111"/>
                <a:gd name="connsiteY13" fmla="*/ 275164 h 718261"/>
                <a:gd name="connsiteX14" fmla="*/ 31275 w 993111"/>
                <a:gd name="connsiteY14" fmla="*/ 373430 h 718261"/>
                <a:gd name="connsiteX15" fmla="*/ 2004 w 993111"/>
                <a:gd name="connsiteY15" fmla="*/ 500575 h 718261"/>
                <a:gd name="connsiteX16" fmla="*/ 75181 w 993111"/>
                <a:gd name="connsiteY16" fmla="*/ 604853 h 718261"/>
                <a:gd name="connsiteX17" fmla="*/ 236041 w 993111"/>
                <a:gd name="connsiteY17" fmla="*/ 718243 h 718261"/>
                <a:gd name="connsiteX0" fmla="*/ 236041 w 993111"/>
                <a:gd name="connsiteY0" fmla="*/ 718243 h 718261"/>
                <a:gd name="connsiteX1" fmla="*/ 432440 w 993111"/>
                <a:gd name="connsiteY1" fmla="*/ 717708 h 718261"/>
                <a:gd name="connsiteX2" fmla="*/ 534007 w 993111"/>
                <a:gd name="connsiteY2" fmla="*/ 717346 h 718261"/>
                <a:gd name="connsiteX3" fmla="*/ 641785 w 993111"/>
                <a:gd name="connsiteY3" fmla="*/ 718261 h 718261"/>
                <a:gd name="connsiteX4" fmla="*/ 816591 w 993111"/>
                <a:gd name="connsiteY4" fmla="*/ 717485 h 718261"/>
                <a:gd name="connsiteX5" fmla="*/ 933184 w 993111"/>
                <a:gd name="connsiteY5" fmla="*/ 616744 h 718261"/>
                <a:gd name="connsiteX6" fmla="*/ 989897 w 993111"/>
                <a:gd name="connsiteY6" fmla="*/ 516125 h 718261"/>
                <a:gd name="connsiteX7" fmla="*/ 922208 w 993111"/>
                <a:gd name="connsiteY7" fmla="*/ 402701 h 718261"/>
                <a:gd name="connsiteX8" fmla="*/ 833517 w 993111"/>
                <a:gd name="connsiteY8" fmla="*/ 314526 h 718261"/>
                <a:gd name="connsiteX9" fmla="*/ 817930 w 993111"/>
                <a:gd name="connsiteY9" fmla="*/ 154813 h 718261"/>
                <a:gd name="connsiteX10" fmla="*/ 648923 w 993111"/>
                <a:gd name="connsiteY10" fmla="*/ 142223 h 718261"/>
                <a:gd name="connsiteX11" fmla="*/ 408138 w 993111"/>
                <a:gd name="connsiteY11" fmla="*/ 226 h 718261"/>
                <a:gd name="connsiteX12" fmla="*/ 258124 w 993111"/>
                <a:gd name="connsiteY12" fmla="*/ 131030 h 718261"/>
                <a:gd name="connsiteX13" fmla="*/ 141160 w 993111"/>
                <a:gd name="connsiteY13" fmla="*/ 275164 h 718261"/>
                <a:gd name="connsiteX14" fmla="*/ 31275 w 993111"/>
                <a:gd name="connsiteY14" fmla="*/ 373430 h 718261"/>
                <a:gd name="connsiteX15" fmla="*/ 2004 w 993111"/>
                <a:gd name="connsiteY15" fmla="*/ 500575 h 718261"/>
                <a:gd name="connsiteX16" fmla="*/ 75181 w 993111"/>
                <a:gd name="connsiteY16" fmla="*/ 604853 h 718261"/>
                <a:gd name="connsiteX17" fmla="*/ 236041 w 993111"/>
                <a:gd name="connsiteY17" fmla="*/ 718243 h 718261"/>
                <a:gd name="connsiteX0" fmla="*/ 236041 w 994615"/>
                <a:gd name="connsiteY0" fmla="*/ 718243 h 718261"/>
                <a:gd name="connsiteX1" fmla="*/ 432440 w 994615"/>
                <a:gd name="connsiteY1" fmla="*/ 717708 h 718261"/>
                <a:gd name="connsiteX2" fmla="*/ 534007 w 994615"/>
                <a:gd name="connsiteY2" fmla="*/ 717346 h 718261"/>
                <a:gd name="connsiteX3" fmla="*/ 641785 w 994615"/>
                <a:gd name="connsiteY3" fmla="*/ 718261 h 718261"/>
                <a:gd name="connsiteX4" fmla="*/ 816591 w 994615"/>
                <a:gd name="connsiteY4" fmla="*/ 717485 h 718261"/>
                <a:gd name="connsiteX5" fmla="*/ 933184 w 994615"/>
                <a:gd name="connsiteY5" fmla="*/ 616744 h 718261"/>
                <a:gd name="connsiteX6" fmla="*/ 989897 w 994615"/>
                <a:gd name="connsiteY6" fmla="*/ 516125 h 718261"/>
                <a:gd name="connsiteX7" fmla="*/ 945991 w 994615"/>
                <a:gd name="connsiteY7" fmla="*/ 385321 h 718261"/>
                <a:gd name="connsiteX8" fmla="*/ 833517 w 994615"/>
                <a:gd name="connsiteY8" fmla="*/ 314526 h 718261"/>
                <a:gd name="connsiteX9" fmla="*/ 817930 w 994615"/>
                <a:gd name="connsiteY9" fmla="*/ 154813 h 718261"/>
                <a:gd name="connsiteX10" fmla="*/ 648923 w 994615"/>
                <a:gd name="connsiteY10" fmla="*/ 142223 h 718261"/>
                <a:gd name="connsiteX11" fmla="*/ 408138 w 994615"/>
                <a:gd name="connsiteY11" fmla="*/ 226 h 718261"/>
                <a:gd name="connsiteX12" fmla="*/ 258124 w 994615"/>
                <a:gd name="connsiteY12" fmla="*/ 131030 h 718261"/>
                <a:gd name="connsiteX13" fmla="*/ 141160 w 994615"/>
                <a:gd name="connsiteY13" fmla="*/ 275164 h 718261"/>
                <a:gd name="connsiteX14" fmla="*/ 31275 w 994615"/>
                <a:gd name="connsiteY14" fmla="*/ 373430 h 718261"/>
                <a:gd name="connsiteX15" fmla="*/ 2004 w 994615"/>
                <a:gd name="connsiteY15" fmla="*/ 500575 h 718261"/>
                <a:gd name="connsiteX16" fmla="*/ 75181 w 994615"/>
                <a:gd name="connsiteY16" fmla="*/ 604853 h 718261"/>
                <a:gd name="connsiteX17" fmla="*/ 236041 w 994615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5991 w 989977"/>
                <a:gd name="connsiteY7" fmla="*/ 385321 h 718261"/>
                <a:gd name="connsiteX8" fmla="*/ 833517 w 989977"/>
                <a:gd name="connsiteY8" fmla="*/ 314526 h 718261"/>
                <a:gd name="connsiteX9" fmla="*/ 817930 w 989977"/>
                <a:gd name="connsiteY9" fmla="*/ 154813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57882 w 989977"/>
                <a:gd name="connsiteY7" fmla="*/ 377088 h 718261"/>
                <a:gd name="connsiteX8" fmla="*/ 833517 w 989977"/>
                <a:gd name="connsiteY8" fmla="*/ 314526 h 718261"/>
                <a:gd name="connsiteX9" fmla="*/ 817930 w 989977"/>
                <a:gd name="connsiteY9" fmla="*/ 154813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17930 w 989977"/>
                <a:gd name="connsiteY9" fmla="*/ 154813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90830"/>
                <a:gd name="connsiteY0" fmla="*/ 718243 h 718261"/>
                <a:gd name="connsiteX1" fmla="*/ 432440 w 990830"/>
                <a:gd name="connsiteY1" fmla="*/ 717708 h 718261"/>
                <a:gd name="connsiteX2" fmla="*/ 534007 w 990830"/>
                <a:gd name="connsiteY2" fmla="*/ 717346 h 718261"/>
                <a:gd name="connsiteX3" fmla="*/ 641785 w 990830"/>
                <a:gd name="connsiteY3" fmla="*/ 718261 h 718261"/>
                <a:gd name="connsiteX4" fmla="*/ 816591 w 990830"/>
                <a:gd name="connsiteY4" fmla="*/ 717485 h 718261"/>
                <a:gd name="connsiteX5" fmla="*/ 933184 w 990830"/>
                <a:gd name="connsiteY5" fmla="*/ 616744 h 718261"/>
                <a:gd name="connsiteX6" fmla="*/ 989897 w 990830"/>
                <a:gd name="connsiteY6" fmla="*/ 516125 h 718261"/>
                <a:gd name="connsiteX7" fmla="*/ 946905 w 990830"/>
                <a:gd name="connsiteY7" fmla="*/ 385320 h 718261"/>
                <a:gd name="connsiteX8" fmla="*/ 833517 w 990830"/>
                <a:gd name="connsiteY8" fmla="*/ 314526 h 718261"/>
                <a:gd name="connsiteX9" fmla="*/ 817930 w 990830"/>
                <a:gd name="connsiteY9" fmla="*/ 154813 h 718261"/>
                <a:gd name="connsiteX10" fmla="*/ 648923 w 990830"/>
                <a:gd name="connsiteY10" fmla="*/ 142223 h 718261"/>
                <a:gd name="connsiteX11" fmla="*/ 408138 w 990830"/>
                <a:gd name="connsiteY11" fmla="*/ 226 h 718261"/>
                <a:gd name="connsiteX12" fmla="*/ 258124 w 990830"/>
                <a:gd name="connsiteY12" fmla="*/ 131030 h 718261"/>
                <a:gd name="connsiteX13" fmla="*/ 141160 w 990830"/>
                <a:gd name="connsiteY13" fmla="*/ 275164 h 718261"/>
                <a:gd name="connsiteX14" fmla="*/ 31275 w 990830"/>
                <a:gd name="connsiteY14" fmla="*/ 373430 h 718261"/>
                <a:gd name="connsiteX15" fmla="*/ 2004 w 990830"/>
                <a:gd name="connsiteY15" fmla="*/ 500575 h 718261"/>
                <a:gd name="connsiteX16" fmla="*/ 75181 w 990830"/>
                <a:gd name="connsiteY16" fmla="*/ 604853 h 718261"/>
                <a:gd name="connsiteX17" fmla="*/ 236041 w 990830"/>
                <a:gd name="connsiteY17" fmla="*/ 718243 h 718261"/>
                <a:gd name="connsiteX0" fmla="*/ 236041 w 990432"/>
                <a:gd name="connsiteY0" fmla="*/ 718243 h 718261"/>
                <a:gd name="connsiteX1" fmla="*/ 432440 w 990432"/>
                <a:gd name="connsiteY1" fmla="*/ 717708 h 718261"/>
                <a:gd name="connsiteX2" fmla="*/ 534007 w 990432"/>
                <a:gd name="connsiteY2" fmla="*/ 717346 h 718261"/>
                <a:gd name="connsiteX3" fmla="*/ 641785 w 990432"/>
                <a:gd name="connsiteY3" fmla="*/ 718261 h 718261"/>
                <a:gd name="connsiteX4" fmla="*/ 816591 w 990432"/>
                <a:gd name="connsiteY4" fmla="*/ 717485 h 718261"/>
                <a:gd name="connsiteX5" fmla="*/ 933184 w 990432"/>
                <a:gd name="connsiteY5" fmla="*/ 616744 h 718261"/>
                <a:gd name="connsiteX6" fmla="*/ 989897 w 990432"/>
                <a:gd name="connsiteY6" fmla="*/ 516125 h 718261"/>
                <a:gd name="connsiteX7" fmla="*/ 946905 w 990432"/>
                <a:gd name="connsiteY7" fmla="*/ 385320 h 718261"/>
                <a:gd name="connsiteX8" fmla="*/ 833517 w 990432"/>
                <a:gd name="connsiteY8" fmla="*/ 314526 h 718261"/>
                <a:gd name="connsiteX9" fmla="*/ 817930 w 990432"/>
                <a:gd name="connsiteY9" fmla="*/ 154813 h 718261"/>
                <a:gd name="connsiteX10" fmla="*/ 648923 w 990432"/>
                <a:gd name="connsiteY10" fmla="*/ 142223 h 718261"/>
                <a:gd name="connsiteX11" fmla="*/ 408138 w 990432"/>
                <a:gd name="connsiteY11" fmla="*/ 226 h 718261"/>
                <a:gd name="connsiteX12" fmla="*/ 258124 w 990432"/>
                <a:gd name="connsiteY12" fmla="*/ 131030 h 718261"/>
                <a:gd name="connsiteX13" fmla="*/ 141160 w 990432"/>
                <a:gd name="connsiteY13" fmla="*/ 275164 h 718261"/>
                <a:gd name="connsiteX14" fmla="*/ 31275 w 990432"/>
                <a:gd name="connsiteY14" fmla="*/ 373430 h 718261"/>
                <a:gd name="connsiteX15" fmla="*/ 2004 w 990432"/>
                <a:gd name="connsiteY15" fmla="*/ 500575 h 718261"/>
                <a:gd name="connsiteX16" fmla="*/ 75181 w 990432"/>
                <a:gd name="connsiteY16" fmla="*/ 604853 h 718261"/>
                <a:gd name="connsiteX17" fmla="*/ 236041 w 990432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17930 w 989977"/>
                <a:gd name="connsiteY9" fmla="*/ 154813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17930 w 989977"/>
                <a:gd name="connsiteY9" fmla="*/ 154813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17930 w 989977"/>
                <a:gd name="connsiteY9" fmla="*/ 154813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11527 w 989977"/>
                <a:gd name="connsiteY9" fmla="*/ 152983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82875 w 989977"/>
                <a:gd name="connsiteY9" fmla="*/ 128286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23418 w 989977"/>
                <a:gd name="connsiteY9" fmla="*/ 163045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23418 w 989977"/>
                <a:gd name="connsiteY9" fmla="*/ 163045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243 h 718261"/>
                <a:gd name="connsiteX1" fmla="*/ 432440 w 989977"/>
                <a:gd name="connsiteY1" fmla="*/ 717708 h 718261"/>
                <a:gd name="connsiteX2" fmla="*/ 534007 w 989977"/>
                <a:gd name="connsiteY2" fmla="*/ 717346 h 718261"/>
                <a:gd name="connsiteX3" fmla="*/ 641785 w 989977"/>
                <a:gd name="connsiteY3" fmla="*/ 718261 h 718261"/>
                <a:gd name="connsiteX4" fmla="*/ 816591 w 989977"/>
                <a:gd name="connsiteY4" fmla="*/ 717485 h 718261"/>
                <a:gd name="connsiteX5" fmla="*/ 933184 w 989977"/>
                <a:gd name="connsiteY5" fmla="*/ 616744 h 718261"/>
                <a:gd name="connsiteX6" fmla="*/ 989897 w 989977"/>
                <a:gd name="connsiteY6" fmla="*/ 516125 h 718261"/>
                <a:gd name="connsiteX7" fmla="*/ 946905 w 989977"/>
                <a:gd name="connsiteY7" fmla="*/ 385320 h 718261"/>
                <a:gd name="connsiteX8" fmla="*/ 833517 w 989977"/>
                <a:gd name="connsiteY8" fmla="*/ 314526 h 718261"/>
                <a:gd name="connsiteX9" fmla="*/ 823418 w 989977"/>
                <a:gd name="connsiteY9" fmla="*/ 163045 h 718261"/>
                <a:gd name="connsiteX10" fmla="*/ 648923 w 989977"/>
                <a:gd name="connsiteY10" fmla="*/ 142223 h 718261"/>
                <a:gd name="connsiteX11" fmla="*/ 408138 w 989977"/>
                <a:gd name="connsiteY11" fmla="*/ 226 h 718261"/>
                <a:gd name="connsiteX12" fmla="*/ 258124 w 989977"/>
                <a:gd name="connsiteY12" fmla="*/ 131030 h 718261"/>
                <a:gd name="connsiteX13" fmla="*/ 141160 w 989977"/>
                <a:gd name="connsiteY13" fmla="*/ 275164 h 718261"/>
                <a:gd name="connsiteX14" fmla="*/ 31275 w 989977"/>
                <a:gd name="connsiteY14" fmla="*/ 373430 h 718261"/>
                <a:gd name="connsiteX15" fmla="*/ 2004 w 989977"/>
                <a:gd name="connsiteY15" fmla="*/ 500575 h 718261"/>
                <a:gd name="connsiteX16" fmla="*/ 75181 w 989977"/>
                <a:gd name="connsiteY16" fmla="*/ 604853 h 718261"/>
                <a:gd name="connsiteX17" fmla="*/ 236041 w 989977"/>
                <a:gd name="connsiteY17" fmla="*/ 718243 h 718261"/>
                <a:gd name="connsiteX0" fmla="*/ 236041 w 989977"/>
                <a:gd name="connsiteY0" fmla="*/ 718025 h 718043"/>
                <a:gd name="connsiteX1" fmla="*/ 432440 w 989977"/>
                <a:gd name="connsiteY1" fmla="*/ 717490 h 718043"/>
                <a:gd name="connsiteX2" fmla="*/ 534007 w 989977"/>
                <a:gd name="connsiteY2" fmla="*/ 717128 h 718043"/>
                <a:gd name="connsiteX3" fmla="*/ 641785 w 989977"/>
                <a:gd name="connsiteY3" fmla="*/ 718043 h 718043"/>
                <a:gd name="connsiteX4" fmla="*/ 816591 w 989977"/>
                <a:gd name="connsiteY4" fmla="*/ 717267 h 718043"/>
                <a:gd name="connsiteX5" fmla="*/ 933184 w 989977"/>
                <a:gd name="connsiteY5" fmla="*/ 616526 h 718043"/>
                <a:gd name="connsiteX6" fmla="*/ 989897 w 989977"/>
                <a:gd name="connsiteY6" fmla="*/ 515907 h 718043"/>
                <a:gd name="connsiteX7" fmla="*/ 946905 w 989977"/>
                <a:gd name="connsiteY7" fmla="*/ 385102 h 718043"/>
                <a:gd name="connsiteX8" fmla="*/ 833517 w 989977"/>
                <a:gd name="connsiteY8" fmla="*/ 314308 h 718043"/>
                <a:gd name="connsiteX9" fmla="*/ 823418 w 989977"/>
                <a:gd name="connsiteY9" fmla="*/ 162827 h 718043"/>
                <a:gd name="connsiteX10" fmla="*/ 648923 w 989977"/>
                <a:gd name="connsiteY10" fmla="*/ 142005 h 718043"/>
                <a:gd name="connsiteX11" fmla="*/ 408138 w 989977"/>
                <a:gd name="connsiteY11" fmla="*/ 8 h 718043"/>
                <a:gd name="connsiteX12" fmla="*/ 258124 w 989977"/>
                <a:gd name="connsiteY12" fmla="*/ 130812 h 718043"/>
                <a:gd name="connsiteX13" fmla="*/ 141160 w 989977"/>
                <a:gd name="connsiteY13" fmla="*/ 274946 h 718043"/>
                <a:gd name="connsiteX14" fmla="*/ 31275 w 989977"/>
                <a:gd name="connsiteY14" fmla="*/ 373212 h 718043"/>
                <a:gd name="connsiteX15" fmla="*/ 2004 w 989977"/>
                <a:gd name="connsiteY15" fmla="*/ 500357 h 718043"/>
                <a:gd name="connsiteX16" fmla="*/ 75181 w 989977"/>
                <a:gd name="connsiteY16" fmla="*/ 604635 h 718043"/>
                <a:gd name="connsiteX17" fmla="*/ 236041 w 989977"/>
                <a:gd name="connsiteY17" fmla="*/ 718025 h 718043"/>
                <a:gd name="connsiteX0" fmla="*/ 236041 w 989977"/>
                <a:gd name="connsiteY0" fmla="*/ 719112 h 719130"/>
                <a:gd name="connsiteX1" fmla="*/ 432440 w 989977"/>
                <a:gd name="connsiteY1" fmla="*/ 718577 h 719130"/>
                <a:gd name="connsiteX2" fmla="*/ 534007 w 989977"/>
                <a:gd name="connsiteY2" fmla="*/ 718215 h 719130"/>
                <a:gd name="connsiteX3" fmla="*/ 641785 w 989977"/>
                <a:gd name="connsiteY3" fmla="*/ 719130 h 719130"/>
                <a:gd name="connsiteX4" fmla="*/ 816591 w 989977"/>
                <a:gd name="connsiteY4" fmla="*/ 718354 h 719130"/>
                <a:gd name="connsiteX5" fmla="*/ 933184 w 989977"/>
                <a:gd name="connsiteY5" fmla="*/ 617613 h 719130"/>
                <a:gd name="connsiteX6" fmla="*/ 989897 w 989977"/>
                <a:gd name="connsiteY6" fmla="*/ 516994 h 719130"/>
                <a:gd name="connsiteX7" fmla="*/ 946905 w 989977"/>
                <a:gd name="connsiteY7" fmla="*/ 386189 h 719130"/>
                <a:gd name="connsiteX8" fmla="*/ 833517 w 989977"/>
                <a:gd name="connsiteY8" fmla="*/ 315395 h 719130"/>
                <a:gd name="connsiteX9" fmla="*/ 823418 w 989977"/>
                <a:gd name="connsiteY9" fmla="*/ 163914 h 719130"/>
                <a:gd name="connsiteX10" fmla="*/ 648923 w 989977"/>
                <a:gd name="connsiteY10" fmla="*/ 143092 h 719130"/>
                <a:gd name="connsiteX11" fmla="*/ 408138 w 989977"/>
                <a:gd name="connsiteY11" fmla="*/ 1095 h 719130"/>
                <a:gd name="connsiteX12" fmla="*/ 216962 w 989977"/>
                <a:gd name="connsiteY12" fmla="*/ 87993 h 719130"/>
                <a:gd name="connsiteX13" fmla="*/ 141160 w 989977"/>
                <a:gd name="connsiteY13" fmla="*/ 276033 h 719130"/>
                <a:gd name="connsiteX14" fmla="*/ 31275 w 989977"/>
                <a:gd name="connsiteY14" fmla="*/ 374299 h 719130"/>
                <a:gd name="connsiteX15" fmla="*/ 2004 w 989977"/>
                <a:gd name="connsiteY15" fmla="*/ 501444 h 719130"/>
                <a:gd name="connsiteX16" fmla="*/ 75181 w 989977"/>
                <a:gd name="connsiteY16" fmla="*/ 605722 h 719130"/>
                <a:gd name="connsiteX17" fmla="*/ 236041 w 989977"/>
                <a:gd name="connsiteY17" fmla="*/ 719112 h 719130"/>
                <a:gd name="connsiteX0" fmla="*/ 236041 w 989977"/>
                <a:gd name="connsiteY0" fmla="*/ 718026 h 718044"/>
                <a:gd name="connsiteX1" fmla="*/ 432440 w 989977"/>
                <a:gd name="connsiteY1" fmla="*/ 717491 h 718044"/>
                <a:gd name="connsiteX2" fmla="*/ 534007 w 989977"/>
                <a:gd name="connsiteY2" fmla="*/ 717129 h 718044"/>
                <a:gd name="connsiteX3" fmla="*/ 641785 w 989977"/>
                <a:gd name="connsiteY3" fmla="*/ 718044 h 718044"/>
                <a:gd name="connsiteX4" fmla="*/ 816591 w 989977"/>
                <a:gd name="connsiteY4" fmla="*/ 717268 h 718044"/>
                <a:gd name="connsiteX5" fmla="*/ 933184 w 989977"/>
                <a:gd name="connsiteY5" fmla="*/ 616527 h 718044"/>
                <a:gd name="connsiteX6" fmla="*/ 989897 w 989977"/>
                <a:gd name="connsiteY6" fmla="*/ 515908 h 718044"/>
                <a:gd name="connsiteX7" fmla="*/ 946905 w 989977"/>
                <a:gd name="connsiteY7" fmla="*/ 385103 h 718044"/>
                <a:gd name="connsiteX8" fmla="*/ 833517 w 989977"/>
                <a:gd name="connsiteY8" fmla="*/ 314309 h 718044"/>
                <a:gd name="connsiteX9" fmla="*/ 823418 w 989977"/>
                <a:gd name="connsiteY9" fmla="*/ 162828 h 718044"/>
                <a:gd name="connsiteX10" fmla="*/ 648923 w 989977"/>
                <a:gd name="connsiteY10" fmla="*/ 142006 h 718044"/>
                <a:gd name="connsiteX11" fmla="*/ 408138 w 989977"/>
                <a:gd name="connsiteY11" fmla="*/ 9 h 718044"/>
                <a:gd name="connsiteX12" fmla="*/ 216962 w 989977"/>
                <a:gd name="connsiteY12" fmla="*/ 86907 h 718044"/>
                <a:gd name="connsiteX13" fmla="*/ 141160 w 989977"/>
                <a:gd name="connsiteY13" fmla="*/ 274947 h 718044"/>
                <a:gd name="connsiteX14" fmla="*/ 31275 w 989977"/>
                <a:gd name="connsiteY14" fmla="*/ 373213 h 718044"/>
                <a:gd name="connsiteX15" fmla="*/ 2004 w 989977"/>
                <a:gd name="connsiteY15" fmla="*/ 500358 h 718044"/>
                <a:gd name="connsiteX16" fmla="*/ 75181 w 989977"/>
                <a:gd name="connsiteY16" fmla="*/ 604636 h 718044"/>
                <a:gd name="connsiteX17" fmla="*/ 236041 w 989977"/>
                <a:gd name="connsiteY17" fmla="*/ 718026 h 718044"/>
                <a:gd name="connsiteX0" fmla="*/ 236041 w 989977"/>
                <a:gd name="connsiteY0" fmla="*/ 718026 h 718044"/>
                <a:gd name="connsiteX1" fmla="*/ 432440 w 989977"/>
                <a:gd name="connsiteY1" fmla="*/ 717491 h 718044"/>
                <a:gd name="connsiteX2" fmla="*/ 534007 w 989977"/>
                <a:gd name="connsiteY2" fmla="*/ 717129 h 718044"/>
                <a:gd name="connsiteX3" fmla="*/ 641785 w 989977"/>
                <a:gd name="connsiteY3" fmla="*/ 718044 h 718044"/>
                <a:gd name="connsiteX4" fmla="*/ 816591 w 989977"/>
                <a:gd name="connsiteY4" fmla="*/ 717268 h 718044"/>
                <a:gd name="connsiteX5" fmla="*/ 933184 w 989977"/>
                <a:gd name="connsiteY5" fmla="*/ 616527 h 718044"/>
                <a:gd name="connsiteX6" fmla="*/ 989897 w 989977"/>
                <a:gd name="connsiteY6" fmla="*/ 515908 h 718044"/>
                <a:gd name="connsiteX7" fmla="*/ 946905 w 989977"/>
                <a:gd name="connsiteY7" fmla="*/ 385103 h 718044"/>
                <a:gd name="connsiteX8" fmla="*/ 833517 w 989977"/>
                <a:gd name="connsiteY8" fmla="*/ 314309 h 718044"/>
                <a:gd name="connsiteX9" fmla="*/ 823418 w 989977"/>
                <a:gd name="connsiteY9" fmla="*/ 162828 h 718044"/>
                <a:gd name="connsiteX10" fmla="*/ 648923 w 989977"/>
                <a:gd name="connsiteY10" fmla="*/ 142006 h 718044"/>
                <a:gd name="connsiteX11" fmla="*/ 408138 w 989977"/>
                <a:gd name="connsiteY11" fmla="*/ 9 h 718044"/>
                <a:gd name="connsiteX12" fmla="*/ 216962 w 989977"/>
                <a:gd name="connsiteY12" fmla="*/ 86907 h 718044"/>
                <a:gd name="connsiteX13" fmla="*/ 141160 w 989977"/>
                <a:gd name="connsiteY13" fmla="*/ 274947 h 718044"/>
                <a:gd name="connsiteX14" fmla="*/ 31275 w 989977"/>
                <a:gd name="connsiteY14" fmla="*/ 373213 h 718044"/>
                <a:gd name="connsiteX15" fmla="*/ 2004 w 989977"/>
                <a:gd name="connsiteY15" fmla="*/ 500358 h 718044"/>
                <a:gd name="connsiteX16" fmla="*/ 75181 w 989977"/>
                <a:gd name="connsiteY16" fmla="*/ 604636 h 718044"/>
                <a:gd name="connsiteX17" fmla="*/ 236041 w 989977"/>
                <a:gd name="connsiteY17" fmla="*/ 718026 h 718044"/>
                <a:gd name="connsiteX0" fmla="*/ 236041 w 989977"/>
                <a:gd name="connsiteY0" fmla="*/ 718026 h 718044"/>
                <a:gd name="connsiteX1" fmla="*/ 432440 w 989977"/>
                <a:gd name="connsiteY1" fmla="*/ 717491 h 718044"/>
                <a:gd name="connsiteX2" fmla="*/ 534007 w 989977"/>
                <a:gd name="connsiteY2" fmla="*/ 717129 h 718044"/>
                <a:gd name="connsiteX3" fmla="*/ 641785 w 989977"/>
                <a:gd name="connsiteY3" fmla="*/ 718044 h 718044"/>
                <a:gd name="connsiteX4" fmla="*/ 816591 w 989977"/>
                <a:gd name="connsiteY4" fmla="*/ 717268 h 718044"/>
                <a:gd name="connsiteX5" fmla="*/ 933184 w 989977"/>
                <a:gd name="connsiteY5" fmla="*/ 616527 h 718044"/>
                <a:gd name="connsiteX6" fmla="*/ 989897 w 989977"/>
                <a:gd name="connsiteY6" fmla="*/ 515908 h 718044"/>
                <a:gd name="connsiteX7" fmla="*/ 946905 w 989977"/>
                <a:gd name="connsiteY7" fmla="*/ 385103 h 718044"/>
                <a:gd name="connsiteX8" fmla="*/ 833517 w 989977"/>
                <a:gd name="connsiteY8" fmla="*/ 314309 h 718044"/>
                <a:gd name="connsiteX9" fmla="*/ 823418 w 989977"/>
                <a:gd name="connsiteY9" fmla="*/ 162828 h 718044"/>
                <a:gd name="connsiteX10" fmla="*/ 648923 w 989977"/>
                <a:gd name="connsiteY10" fmla="*/ 142006 h 718044"/>
                <a:gd name="connsiteX11" fmla="*/ 408138 w 989977"/>
                <a:gd name="connsiteY11" fmla="*/ 9 h 718044"/>
                <a:gd name="connsiteX12" fmla="*/ 216962 w 989977"/>
                <a:gd name="connsiteY12" fmla="*/ 86907 h 718044"/>
                <a:gd name="connsiteX13" fmla="*/ 141160 w 989977"/>
                <a:gd name="connsiteY13" fmla="*/ 274947 h 718044"/>
                <a:gd name="connsiteX14" fmla="*/ 31275 w 989977"/>
                <a:gd name="connsiteY14" fmla="*/ 373213 h 718044"/>
                <a:gd name="connsiteX15" fmla="*/ 2004 w 989977"/>
                <a:gd name="connsiteY15" fmla="*/ 500358 h 718044"/>
                <a:gd name="connsiteX16" fmla="*/ 75181 w 989977"/>
                <a:gd name="connsiteY16" fmla="*/ 604636 h 718044"/>
                <a:gd name="connsiteX17" fmla="*/ 236041 w 989977"/>
                <a:gd name="connsiteY17" fmla="*/ 718026 h 718044"/>
                <a:gd name="connsiteX0" fmla="*/ 236041 w 989977"/>
                <a:gd name="connsiteY0" fmla="*/ 718026 h 718044"/>
                <a:gd name="connsiteX1" fmla="*/ 432440 w 989977"/>
                <a:gd name="connsiteY1" fmla="*/ 717491 h 718044"/>
                <a:gd name="connsiteX2" fmla="*/ 534007 w 989977"/>
                <a:gd name="connsiteY2" fmla="*/ 717129 h 718044"/>
                <a:gd name="connsiteX3" fmla="*/ 641785 w 989977"/>
                <a:gd name="connsiteY3" fmla="*/ 718044 h 718044"/>
                <a:gd name="connsiteX4" fmla="*/ 816591 w 989977"/>
                <a:gd name="connsiteY4" fmla="*/ 717268 h 718044"/>
                <a:gd name="connsiteX5" fmla="*/ 933184 w 989977"/>
                <a:gd name="connsiteY5" fmla="*/ 616527 h 718044"/>
                <a:gd name="connsiteX6" fmla="*/ 989897 w 989977"/>
                <a:gd name="connsiteY6" fmla="*/ 515908 h 718044"/>
                <a:gd name="connsiteX7" fmla="*/ 946905 w 989977"/>
                <a:gd name="connsiteY7" fmla="*/ 385103 h 718044"/>
                <a:gd name="connsiteX8" fmla="*/ 833517 w 989977"/>
                <a:gd name="connsiteY8" fmla="*/ 314309 h 718044"/>
                <a:gd name="connsiteX9" fmla="*/ 823418 w 989977"/>
                <a:gd name="connsiteY9" fmla="*/ 162828 h 718044"/>
                <a:gd name="connsiteX10" fmla="*/ 648923 w 989977"/>
                <a:gd name="connsiteY10" fmla="*/ 142006 h 718044"/>
                <a:gd name="connsiteX11" fmla="*/ 408138 w 989977"/>
                <a:gd name="connsiteY11" fmla="*/ 9 h 718044"/>
                <a:gd name="connsiteX12" fmla="*/ 216962 w 989977"/>
                <a:gd name="connsiteY12" fmla="*/ 86907 h 718044"/>
                <a:gd name="connsiteX13" fmla="*/ 141160 w 989977"/>
                <a:gd name="connsiteY13" fmla="*/ 274947 h 718044"/>
                <a:gd name="connsiteX14" fmla="*/ 31275 w 989977"/>
                <a:gd name="connsiteY14" fmla="*/ 373213 h 718044"/>
                <a:gd name="connsiteX15" fmla="*/ 2004 w 989977"/>
                <a:gd name="connsiteY15" fmla="*/ 500358 h 718044"/>
                <a:gd name="connsiteX16" fmla="*/ 75181 w 989977"/>
                <a:gd name="connsiteY16" fmla="*/ 604636 h 718044"/>
                <a:gd name="connsiteX17" fmla="*/ 236041 w 989977"/>
                <a:gd name="connsiteY17" fmla="*/ 718026 h 718044"/>
                <a:gd name="connsiteX0" fmla="*/ 236041 w 989977"/>
                <a:gd name="connsiteY0" fmla="*/ 718026 h 718044"/>
                <a:gd name="connsiteX1" fmla="*/ 432440 w 989977"/>
                <a:gd name="connsiteY1" fmla="*/ 717491 h 718044"/>
                <a:gd name="connsiteX2" fmla="*/ 534007 w 989977"/>
                <a:gd name="connsiteY2" fmla="*/ 717129 h 718044"/>
                <a:gd name="connsiteX3" fmla="*/ 641785 w 989977"/>
                <a:gd name="connsiteY3" fmla="*/ 718044 h 718044"/>
                <a:gd name="connsiteX4" fmla="*/ 816591 w 989977"/>
                <a:gd name="connsiteY4" fmla="*/ 717268 h 718044"/>
                <a:gd name="connsiteX5" fmla="*/ 933184 w 989977"/>
                <a:gd name="connsiteY5" fmla="*/ 616527 h 718044"/>
                <a:gd name="connsiteX6" fmla="*/ 989897 w 989977"/>
                <a:gd name="connsiteY6" fmla="*/ 515908 h 718044"/>
                <a:gd name="connsiteX7" fmla="*/ 946905 w 989977"/>
                <a:gd name="connsiteY7" fmla="*/ 385103 h 718044"/>
                <a:gd name="connsiteX8" fmla="*/ 833517 w 989977"/>
                <a:gd name="connsiteY8" fmla="*/ 314309 h 718044"/>
                <a:gd name="connsiteX9" fmla="*/ 823418 w 989977"/>
                <a:gd name="connsiteY9" fmla="*/ 162828 h 718044"/>
                <a:gd name="connsiteX10" fmla="*/ 648923 w 989977"/>
                <a:gd name="connsiteY10" fmla="*/ 142006 h 718044"/>
                <a:gd name="connsiteX11" fmla="*/ 408138 w 989977"/>
                <a:gd name="connsiteY11" fmla="*/ 9 h 718044"/>
                <a:gd name="connsiteX12" fmla="*/ 216962 w 989977"/>
                <a:gd name="connsiteY12" fmla="*/ 86907 h 718044"/>
                <a:gd name="connsiteX13" fmla="*/ 141160 w 989977"/>
                <a:gd name="connsiteY13" fmla="*/ 274947 h 718044"/>
                <a:gd name="connsiteX14" fmla="*/ 31275 w 989977"/>
                <a:gd name="connsiteY14" fmla="*/ 373213 h 718044"/>
                <a:gd name="connsiteX15" fmla="*/ 2004 w 989977"/>
                <a:gd name="connsiteY15" fmla="*/ 500358 h 718044"/>
                <a:gd name="connsiteX16" fmla="*/ 75181 w 989977"/>
                <a:gd name="connsiteY16" fmla="*/ 604636 h 718044"/>
                <a:gd name="connsiteX17" fmla="*/ 236041 w 989977"/>
                <a:gd name="connsiteY17" fmla="*/ 718026 h 718044"/>
                <a:gd name="connsiteX0" fmla="*/ 236041 w 989977"/>
                <a:gd name="connsiteY0" fmla="*/ 718026 h 718044"/>
                <a:gd name="connsiteX1" fmla="*/ 432440 w 989977"/>
                <a:gd name="connsiteY1" fmla="*/ 717491 h 718044"/>
                <a:gd name="connsiteX2" fmla="*/ 534007 w 989977"/>
                <a:gd name="connsiteY2" fmla="*/ 717129 h 718044"/>
                <a:gd name="connsiteX3" fmla="*/ 641785 w 989977"/>
                <a:gd name="connsiteY3" fmla="*/ 718044 h 718044"/>
                <a:gd name="connsiteX4" fmla="*/ 816591 w 989977"/>
                <a:gd name="connsiteY4" fmla="*/ 717268 h 718044"/>
                <a:gd name="connsiteX5" fmla="*/ 933184 w 989977"/>
                <a:gd name="connsiteY5" fmla="*/ 616527 h 718044"/>
                <a:gd name="connsiteX6" fmla="*/ 989897 w 989977"/>
                <a:gd name="connsiteY6" fmla="*/ 515908 h 718044"/>
                <a:gd name="connsiteX7" fmla="*/ 946905 w 989977"/>
                <a:gd name="connsiteY7" fmla="*/ 385103 h 718044"/>
                <a:gd name="connsiteX8" fmla="*/ 833517 w 989977"/>
                <a:gd name="connsiteY8" fmla="*/ 314309 h 718044"/>
                <a:gd name="connsiteX9" fmla="*/ 823418 w 989977"/>
                <a:gd name="connsiteY9" fmla="*/ 162828 h 718044"/>
                <a:gd name="connsiteX10" fmla="*/ 648923 w 989977"/>
                <a:gd name="connsiteY10" fmla="*/ 142006 h 718044"/>
                <a:gd name="connsiteX11" fmla="*/ 408138 w 989977"/>
                <a:gd name="connsiteY11" fmla="*/ 9 h 718044"/>
                <a:gd name="connsiteX12" fmla="*/ 216962 w 989977"/>
                <a:gd name="connsiteY12" fmla="*/ 86907 h 718044"/>
                <a:gd name="connsiteX13" fmla="*/ 141160 w 989977"/>
                <a:gd name="connsiteY13" fmla="*/ 274947 h 718044"/>
                <a:gd name="connsiteX14" fmla="*/ 31275 w 989977"/>
                <a:gd name="connsiteY14" fmla="*/ 373213 h 718044"/>
                <a:gd name="connsiteX15" fmla="*/ 2004 w 989977"/>
                <a:gd name="connsiteY15" fmla="*/ 500358 h 718044"/>
                <a:gd name="connsiteX16" fmla="*/ 75181 w 989977"/>
                <a:gd name="connsiteY16" fmla="*/ 604636 h 718044"/>
                <a:gd name="connsiteX17" fmla="*/ 236041 w 989977"/>
                <a:gd name="connsiteY17" fmla="*/ 718026 h 718044"/>
                <a:gd name="connsiteX0" fmla="*/ 235400 w 989336"/>
                <a:gd name="connsiteY0" fmla="*/ 718026 h 718044"/>
                <a:gd name="connsiteX1" fmla="*/ 431799 w 989336"/>
                <a:gd name="connsiteY1" fmla="*/ 717491 h 718044"/>
                <a:gd name="connsiteX2" fmla="*/ 533366 w 989336"/>
                <a:gd name="connsiteY2" fmla="*/ 717129 h 718044"/>
                <a:gd name="connsiteX3" fmla="*/ 641144 w 989336"/>
                <a:gd name="connsiteY3" fmla="*/ 718044 h 718044"/>
                <a:gd name="connsiteX4" fmla="*/ 815950 w 989336"/>
                <a:gd name="connsiteY4" fmla="*/ 717268 h 718044"/>
                <a:gd name="connsiteX5" fmla="*/ 932543 w 989336"/>
                <a:gd name="connsiteY5" fmla="*/ 616527 h 718044"/>
                <a:gd name="connsiteX6" fmla="*/ 989256 w 989336"/>
                <a:gd name="connsiteY6" fmla="*/ 515908 h 718044"/>
                <a:gd name="connsiteX7" fmla="*/ 946264 w 989336"/>
                <a:gd name="connsiteY7" fmla="*/ 385103 h 718044"/>
                <a:gd name="connsiteX8" fmla="*/ 832876 w 989336"/>
                <a:gd name="connsiteY8" fmla="*/ 314309 h 718044"/>
                <a:gd name="connsiteX9" fmla="*/ 822777 w 989336"/>
                <a:gd name="connsiteY9" fmla="*/ 162828 h 718044"/>
                <a:gd name="connsiteX10" fmla="*/ 648282 w 989336"/>
                <a:gd name="connsiteY10" fmla="*/ 142006 h 718044"/>
                <a:gd name="connsiteX11" fmla="*/ 407497 w 989336"/>
                <a:gd name="connsiteY11" fmla="*/ 9 h 718044"/>
                <a:gd name="connsiteX12" fmla="*/ 216321 w 989336"/>
                <a:gd name="connsiteY12" fmla="*/ 86907 h 718044"/>
                <a:gd name="connsiteX13" fmla="*/ 140519 w 989336"/>
                <a:gd name="connsiteY13" fmla="*/ 274947 h 718044"/>
                <a:gd name="connsiteX14" fmla="*/ 40696 w 989336"/>
                <a:gd name="connsiteY14" fmla="*/ 372298 h 718044"/>
                <a:gd name="connsiteX15" fmla="*/ 1363 w 989336"/>
                <a:gd name="connsiteY15" fmla="*/ 500358 h 718044"/>
                <a:gd name="connsiteX16" fmla="*/ 74540 w 989336"/>
                <a:gd name="connsiteY16" fmla="*/ 604636 h 718044"/>
                <a:gd name="connsiteX17" fmla="*/ 235400 w 989336"/>
                <a:gd name="connsiteY17" fmla="*/ 718026 h 718044"/>
                <a:gd name="connsiteX0" fmla="*/ 234037 w 987973"/>
                <a:gd name="connsiteY0" fmla="*/ 718026 h 718044"/>
                <a:gd name="connsiteX1" fmla="*/ 430436 w 987973"/>
                <a:gd name="connsiteY1" fmla="*/ 717491 h 718044"/>
                <a:gd name="connsiteX2" fmla="*/ 532003 w 987973"/>
                <a:gd name="connsiteY2" fmla="*/ 717129 h 718044"/>
                <a:gd name="connsiteX3" fmla="*/ 639781 w 987973"/>
                <a:gd name="connsiteY3" fmla="*/ 718044 h 718044"/>
                <a:gd name="connsiteX4" fmla="*/ 814587 w 987973"/>
                <a:gd name="connsiteY4" fmla="*/ 717268 h 718044"/>
                <a:gd name="connsiteX5" fmla="*/ 931180 w 987973"/>
                <a:gd name="connsiteY5" fmla="*/ 616527 h 718044"/>
                <a:gd name="connsiteX6" fmla="*/ 987893 w 987973"/>
                <a:gd name="connsiteY6" fmla="*/ 515908 h 718044"/>
                <a:gd name="connsiteX7" fmla="*/ 944901 w 987973"/>
                <a:gd name="connsiteY7" fmla="*/ 385103 h 718044"/>
                <a:gd name="connsiteX8" fmla="*/ 831513 w 987973"/>
                <a:gd name="connsiteY8" fmla="*/ 314309 h 718044"/>
                <a:gd name="connsiteX9" fmla="*/ 821414 w 987973"/>
                <a:gd name="connsiteY9" fmla="*/ 162828 h 718044"/>
                <a:gd name="connsiteX10" fmla="*/ 646919 w 987973"/>
                <a:gd name="connsiteY10" fmla="*/ 142006 h 718044"/>
                <a:gd name="connsiteX11" fmla="*/ 406134 w 987973"/>
                <a:gd name="connsiteY11" fmla="*/ 9 h 718044"/>
                <a:gd name="connsiteX12" fmla="*/ 214958 w 987973"/>
                <a:gd name="connsiteY12" fmla="*/ 86907 h 718044"/>
                <a:gd name="connsiteX13" fmla="*/ 139156 w 987973"/>
                <a:gd name="connsiteY13" fmla="*/ 274947 h 718044"/>
                <a:gd name="connsiteX14" fmla="*/ 39333 w 987973"/>
                <a:gd name="connsiteY14" fmla="*/ 372298 h 718044"/>
                <a:gd name="connsiteX15" fmla="*/ 0 w 987973"/>
                <a:gd name="connsiteY15" fmla="*/ 500358 h 718044"/>
                <a:gd name="connsiteX16" fmla="*/ 73177 w 987973"/>
                <a:gd name="connsiteY16" fmla="*/ 604636 h 718044"/>
                <a:gd name="connsiteX17" fmla="*/ 234037 w 987973"/>
                <a:gd name="connsiteY17" fmla="*/ 718026 h 718044"/>
                <a:gd name="connsiteX0" fmla="*/ 234037 w 987973"/>
                <a:gd name="connsiteY0" fmla="*/ 718026 h 718044"/>
                <a:gd name="connsiteX1" fmla="*/ 430436 w 987973"/>
                <a:gd name="connsiteY1" fmla="*/ 717491 h 718044"/>
                <a:gd name="connsiteX2" fmla="*/ 532003 w 987973"/>
                <a:gd name="connsiteY2" fmla="*/ 717129 h 718044"/>
                <a:gd name="connsiteX3" fmla="*/ 639781 w 987973"/>
                <a:gd name="connsiteY3" fmla="*/ 718044 h 718044"/>
                <a:gd name="connsiteX4" fmla="*/ 814587 w 987973"/>
                <a:gd name="connsiteY4" fmla="*/ 717268 h 718044"/>
                <a:gd name="connsiteX5" fmla="*/ 931180 w 987973"/>
                <a:gd name="connsiteY5" fmla="*/ 616527 h 718044"/>
                <a:gd name="connsiteX6" fmla="*/ 987893 w 987973"/>
                <a:gd name="connsiteY6" fmla="*/ 515908 h 718044"/>
                <a:gd name="connsiteX7" fmla="*/ 944901 w 987973"/>
                <a:gd name="connsiteY7" fmla="*/ 385103 h 718044"/>
                <a:gd name="connsiteX8" fmla="*/ 831513 w 987973"/>
                <a:gd name="connsiteY8" fmla="*/ 314309 h 718044"/>
                <a:gd name="connsiteX9" fmla="*/ 821414 w 987973"/>
                <a:gd name="connsiteY9" fmla="*/ 162828 h 718044"/>
                <a:gd name="connsiteX10" fmla="*/ 646919 w 987973"/>
                <a:gd name="connsiteY10" fmla="*/ 142006 h 718044"/>
                <a:gd name="connsiteX11" fmla="*/ 406134 w 987973"/>
                <a:gd name="connsiteY11" fmla="*/ 9 h 718044"/>
                <a:gd name="connsiteX12" fmla="*/ 214958 w 987973"/>
                <a:gd name="connsiteY12" fmla="*/ 86907 h 718044"/>
                <a:gd name="connsiteX13" fmla="*/ 139156 w 987973"/>
                <a:gd name="connsiteY13" fmla="*/ 274947 h 718044"/>
                <a:gd name="connsiteX14" fmla="*/ 39333 w 987973"/>
                <a:gd name="connsiteY14" fmla="*/ 372298 h 718044"/>
                <a:gd name="connsiteX15" fmla="*/ 0 w 987973"/>
                <a:gd name="connsiteY15" fmla="*/ 500358 h 718044"/>
                <a:gd name="connsiteX16" fmla="*/ 73177 w 987973"/>
                <a:gd name="connsiteY16" fmla="*/ 604636 h 718044"/>
                <a:gd name="connsiteX17" fmla="*/ 234037 w 987973"/>
                <a:gd name="connsiteY17" fmla="*/ 718026 h 718044"/>
                <a:gd name="connsiteX0" fmla="*/ 234072 w 988008"/>
                <a:gd name="connsiteY0" fmla="*/ 718026 h 718044"/>
                <a:gd name="connsiteX1" fmla="*/ 430471 w 988008"/>
                <a:gd name="connsiteY1" fmla="*/ 717491 h 718044"/>
                <a:gd name="connsiteX2" fmla="*/ 532038 w 988008"/>
                <a:gd name="connsiteY2" fmla="*/ 717129 h 718044"/>
                <a:gd name="connsiteX3" fmla="*/ 639816 w 988008"/>
                <a:gd name="connsiteY3" fmla="*/ 718044 h 718044"/>
                <a:gd name="connsiteX4" fmla="*/ 814622 w 988008"/>
                <a:gd name="connsiteY4" fmla="*/ 717268 h 718044"/>
                <a:gd name="connsiteX5" fmla="*/ 931215 w 988008"/>
                <a:gd name="connsiteY5" fmla="*/ 616527 h 718044"/>
                <a:gd name="connsiteX6" fmla="*/ 987928 w 988008"/>
                <a:gd name="connsiteY6" fmla="*/ 515908 h 718044"/>
                <a:gd name="connsiteX7" fmla="*/ 944936 w 988008"/>
                <a:gd name="connsiteY7" fmla="*/ 385103 h 718044"/>
                <a:gd name="connsiteX8" fmla="*/ 831548 w 988008"/>
                <a:gd name="connsiteY8" fmla="*/ 314309 h 718044"/>
                <a:gd name="connsiteX9" fmla="*/ 821449 w 988008"/>
                <a:gd name="connsiteY9" fmla="*/ 162828 h 718044"/>
                <a:gd name="connsiteX10" fmla="*/ 646954 w 988008"/>
                <a:gd name="connsiteY10" fmla="*/ 142006 h 718044"/>
                <a:gd name="connsiteX11" fmla="*/ 406169 w 988008"/>
                <a:gd name="connsiteY11" fmla="*/ 9 h 718044"/>
                <a:gd name="connsiteX12" fmla="*/ 214993 w 988008"/>
                <a:gd name="connsiteY12" fmla="*/ 86907 h 718044"/>
                <a:gd name="connsiteX13" fmla="*/ 139191 w 988008"/>
                <a:gd name="connsiteY13" fmla="*/ 274947 h 718044"/>
                <a:gd name="connsiteX14" fmla="*/ 39368 w 988008"/>
                <a:gd name="connsiteY14" fmla="*/ 372298 h 718044"/>
                <a:gd name="connsiteX15" fmla="*/ 35 w 988008"/>
                <a:gd name="connsiteY15" fmla="*/ 500358 h 718044"/>
                <a:gd name="connsiteX16" fmla="*/ 73212 w 988008"/>
                <a:gd name="connsiteY16" fmla="*/ 604636 h 718044"/>
                <a:gd name="connsiteX17" fmla="*/ 234072 w 988008"/>
                <a:gd name="connsiteY17" fmla="*/ 718026 h 718044"/>
                <a:gd name="connsiteX0" fmla="*/ 234072 w 988008"/>
                <a:gd name="connsiteY0" fmla="*/ 718026 h 718044"/>
                <a:gd name="connsiteX1" fmla="*/ 430471 w 988008"/>
                <a:gd name="connsiteY1" fmla="*/ 717491 h 718044"/>
                <a:gd name="connsiteX2" fmla="*/ 532038 w 988008"/>
                <a:gd name="connsiteY2" fmla="*/ 717129 h 718044"/>
                <a:gd name="connsiteX3" fmla="*/ 639816 w 988008"/>
                <a:gd name="connsiteY3" fmla="*/ 718044 h 718044"/>
                <a:gd name="connsiteX4" fmla="*/ 814622 w 988008"/>
                <a:gd name="connsiteY4" fmla="*/ 717268 h 718044"/>
                <a:gd name="connsiteX5" fmla="*/ 931215 w 988008"/>
                <a:gd name="connsiteY5" fmla="*/ 616527 h 718044"/>
                <a:gd name="connsiteX6" fmla="*/ 987928 w 988008"/>
                <a:gd name="connsiteY6" fmla="*/ 515908 h 718044"/>
                <a:gd name="connsiteX7" fmla="*/ 944936 w 988008"/>
                <a:gd name="connsiteY7" fmla="*/ 385103 h 718044"/>
                <a:gd name="connsiteX8" fmla="*/ 831548 w 988008"/>
                <a:gd name="connsiteY8" fmla="*/ 314309 h 718044"/>
                <a:gd name="connsiteX9" fmla="*/ 821449 w 988008"/>
                <a:gd name="connsiteY9" fmla="*/ 162828 h 718044"/>
                <a:gd name="connsiteX10" fmla="*/ 646954 w 988008"/>
                <a:gd name="connsiteY10" fmla="*/ 142006 h 718044"/>
                <a:gd name="connsiteX11" fmla="*/ 406169 w 988008"/>
                <a:gd name="connsiteY11" fmla="*/ 9 h 718044"/>
                <a:gd name="connsiteX12" fmla="*/ 214993 w 988008"/>
                <a:gd name="connsiteY12" fmla="*/ 86907 h 718044"/>
                <a:gd name="connsiteX13" fmla="*/ 139191 w 988008"/>
                <a:gd name="connsiteY13" fmla="*/ 274947 h 718044"/>
                <a:gd name="connsiteX14" fmla="*/ 39368 w 988008"/>
                <a:gd name="connsiteY14" fmla="*/ 372298 h 718044"/>
                <a:gd name="connsiteX15" fmla="*/ 35 w 988008"/>
                <a:gd name="connsiteY15" fmla="*/ 500358 h 718044"/>
                <a:gd name="connsiteX16" fmla="*/ 54918 w 988008"/>
                <a:gd name="connsiteY16" fmla="*/ 644884 h 718044"/>
                <a:gd name="connsiteX17" fmla="*/ 234072 w 988008"/>
                <a:gd name="connsiteY17" fmla="*/ 718026 h 718044"/>
                <a:gd name="connsiteX0" fmla="*/ 234072 w 988008"/>
                <a:gd name="connsiteY0" fmla="*/ 718026 h 718044"/>
                <a:gd name="connsiteX1" fmla="*/ 430471 w 988008"/>
                <a:gd name="connsiteY1" fmla="*/ 717491 h 718044"/>
                <a:gd name="connsiteX2" fmla="*/ 532038 w 988008"/>
                <a:gd name="connsiteY2" fmla="*/ 717129 h 718044"/>
                <a:gd name="connsiteX3" fmla="*/ 639816 w 988008"/>
                <a:gd name="connsiteY3" fmla="*/ 718044 h 718044"/>
                <a:gd name="connsiteX4" fmla="*/ 814622 w 988008"/>
                <a:gd name="connsiteY4" fmla="*/ 717268 h 718044"/>
                <a:gd name="connsiteX5" fmla="*/ 931215 w 988008"/>
                <a:gd name="connsiteY5" fmla="*/ 616527 h 718044"/>
                <a:gd name="connsiteX6" fmla="*/ 987928 w 988008"/>
                <a:gd name="connsiteY6" fmla="*/ 515908 h 718044"/>
                <a:gd name="connsiteX7" fmla="*/ 944936 w 988008"/>
                <a:gd name="connsiteY7" fmla="*/ 385103 h 718044"/>
                <a:gd name="connsiteX8" fmla="*/ 831548 w 988008"/>
                <a:gd name="connsiteY8" fmla="*/ 314309 h 718044"/>
                <a:gd name="connsiteX9" fmla="*/ 821449 w 988008"/>
                <a:gd name="connsiteY9" fmla="*/ 162828 h 718044"/>
                <a:gd name="connsiteX10" fmla="*/ 646954 w 988008"/>
                <a:gd name="connsiteY10" fmla="*/ 142006 h 718044"/>
                <a:gd name="connsiteX11" fmla="*/ 406169 w 988008"/>
                <a:gd name="connsiteY11" fmla="*/ 9 h 718044"/>
                <a:gd name="connsiteX12" fmla="*/ 214993 w 988008"/>
                <a:gd name="connsiteY12" fmla="*/ 86907 h 718044"/>
                <a:gd name="connsiteX13" fmla="*/ 139191 w 988008"/>
                <a:gd name="connsiteY13" fmla="*/ 274947 h 718044"/>
                <a:gd name="connsiteX14" fmla="*/ 39368 w 988008"/>
                <a:gd name="connsiteY14" fmla="*/ 372298 h 718044"/>
                <a:gd name="connsiteX15" fmla="*/ 35 w 988008"/>
                <a:gd name="connsiteY15" fmla="*/ 500358 h 718044"/>
                <a:gd name="connsiteX16" fmla="*/ 54918 w 988008"/>
                <a:gd name="connsiteY16" fmla="*/ 644884 h 718044"/>
                <a:gd name="connsiteX17" fmla="*/ 234072 w 988008"/>
                <a:gd name="connsiteY17" fmla="*/ 718026 h 718044"/>
                <a:gd name="connsiteX0" fmla="*/ 234072 w 988008"/>
                <a:gd name="connsiteY0" fmla="*/ 718026 h 718044"/>
                <a:gd name="connsiteX1" fmla="*/ 430471 w 988008"/>
                <a:gd name="connsiteY1" fmla="*/ 717491 h 718044"/>
                <a:gd name="connsiteX2" fmla="*/ 532038 w 988008"/>
                <a:gd name="connsiteY2" fmla="*/ 717129 h 718044"/>
                <a:gd name="connsiteX3" fmla="*/ 639816 w 988008"/>
                <a:gd name="connsiteY3" fmla="*/ 718044 h 718044"/>
                <a:gd name="connsiteX4" fmla="*/ 814622 w 988008"/>
                <a:gd name="connsiteY4" fmla="*/ 717268 h 718044"/>
                <a:gd name="connsiteX5" fmla="*/ 931215 w 988008"/>
                <a:gd name="connsiteY5" fmla="*/ 616527 h 718044"/>
                <a:gd name="connsiteX6" fmla="*/ 987928 w 988008"/>
                <a:gd name="connsiteY6" fmla="*/ 515908 h 718044"/>
                <a:gd name="connsiteX7" fmla="*/ 944936 w 988008"/>
                <a:gd name="connsiteY7" fmla="*/ 385103 h 718044"/>
                <a:gd name="connsiteX8" fmla="*/ 831548 w 988008"/>
                <a:gd name="connsiteY8" fmla="*/ 314309 h 718044"/>
                <a:gd name="connsiteX9" fmla="*/ 821449 w 988008"/>
                <a:gd name="connsiteY9" fmla="*/ 162828 h 718044"/>
                <a:gd name="connsiteX10" fmla="*/ 646954 w 988008"/>
                <a:gd name="connsiteY10" fmla="*/ 142006 h 718044"/>
                <a:gd name="connsiteX11" fmla="*/ 406169 w 988008"/>
                <a:gd name="connsiteY11" fmla="*/ 9 h 718044"/>
                <a:gd name="connsiteX12" fmla="*/ 214993 w 988008"/>
                <a:gd name="connsiteY12" fmla="*/ 86907 h 718044"/>
                <a:gd name="connsiteX13" fmla="*/ 139191 w 988008"/>
                <a:gd name="connsiteY13" fmla="*/ 274947 h 718044"/>
                <a:gd name="connsiteX14" fmla="*/ 39368 w 988008"/>
                <a:gd name="connsiteY14" fmla="*/ 372298 h 718044"/>
                <a:gd name="connsiteX15" fmla="*/ 35 w 988008"/>
                <a:gd name="connsiteY15" fmla="*/ 500358 h 718044"/>
                <a:gd name="connsiteX16" fmla="*/ 54918 w 988008"/>
                <a:gd name="connsiteY16" fmla="*/ 644884 h 718044"/>
                <a:gd name="connsiteX17" fmla="*/ 234072 w 988008"/>
                <a:gd name="connsiteY17" fmla="*/ 718026 h 718044"/>
                <a:gd name="connsiteX0" fmla="*/ 234072 w 988008"/>
                <a:gd name="connsiteY0" fmla="*/ 718026 h 718078"/>
                <a:gd name="connsiteX1" fmla="*/ 430471 w 988008"/>
                <a:gd name="connsiteY1" fmla="*/ 717491 h 718078"/>
                <a:gd name="connsiteX2" fmla="*/ 532038 w 988008"/>
                <a:gd name="connsiteY2" fmla="*/ 717129 h 718078"/>
                <a:gd name="connsiteX3" fmla="*/ 639816 w 988008"/>
                <a:gd name="connsiteY3" fmla="*/ 718044 h 718078"/>
                <a:gd name="connsiteX4" fmla="*/ 814622 w 988008"/>
                <a:gd name="connsiteY4" fmla="*/ 717268 h 718078"/>
                <a:gd name="connsiteX5" fmla="*/ 931215 w 988008"/>
                <a:gd name="connsiteY5" fmla="*/ 616527 h 718078"/>
                <a:gd name="connsiteX6" fmla="*/ 987928 w 988008"/>
                <a:gd name="connsiteY6" fmla="*/ 515908 h 718078"/>
                <a:gd name="connsiteX7" fmla="*/ 944936 w 988008"/>
                <a:gd name="connsiteY7" fmla="*/ 385103 h 718078"/>
                <a:gd name="connsiteX8" fmla="*/ 831548 w 988008"/>
                <a:gd name="connsiteY8" fmla="*/ 314309 h 718078"/>
                <a:gd name="connsiteX9" fmla="*/ 821449 w 988008"/>
                <a:gd name="connsiteY9" fmla="*/ 162828 h 718078"/>
                <a:gd name="connsiteX10" fmla="*/ 646954 w 988008"/>
                <a:gd name="connsiteY10" fmla="*/ 142006 h 718078"/>
                <a:gd name="connsiteX11" fmla="*/ 406169 w 988008"/>
                <a:gd name="connsiteY11" fmla="*/ 9 h 718078"/>
                <a:gd name="connsiteX12" fmla="*/ 214993 w 988008"/>
                <a:gd name="connsiteY12" fmla="*/ 86907 h 718078"/>
                <a:gd name="connsiteX13" fmla="*/ 139191 w 988008"/>
                <a:gd name="connsiteY13" fmla="*/ 274947 h 718078"/>
                <a:gd name="connsiteX14" fmla="*/ 39368 w 988008"/>
                <a:gd name="connsiteY14" fmla="*/ 372298 h 718078"/>
                <a:gd name="connsiteX15" fmla="*/ 35 w 988008"/>
                <a:gd name="connsiteY15" fmla="*/ 500358 h 718078"/>
                <a:gd name="connsiteX16" fmla="*/ 54918 w 988008"/>
                <a:gd name="connsiteY16" fmla="*/ 644884 h 718078"/>
                <a:gd name="connsiteX17" fmla="*/ 234072 w 988008"/>
                <a:gd name="connsiteY17" fmla="*/ 718026 h 718078"/>
                <a:gd name="connsiteX0" fmla="*/ 243235 w 997171"/>
                <a:gd name="connsiteY0" fmla="*/ 718026 h 718078"/>
                <a:gd name="connsiteX1" fmla="*/ 439634 w 997171"/>
                <a:gd name="connsiteY1" fmla="*/ 717491 h 718078"/>
                <a:gd name="connsiteX2" fmla="*/ 541201 w 997171"/>
                <a:gd name="connsiteY2" fmla="*/ 717129 h 718078"/>
                <a:gd name="connsiteX3" fmla="*/ 648979 w 997171"/>
                <a:gd name="connsiteY3" fmla="*/ 718044 h 718078"/>
                <a:gd name="connsiteX4" fmla="*/ 823785 w 997171"/>
                <a:gd name="connsiteY4" fmla="*/ 717268 h 718078"/>
                <a:gd name="connsiteX5" fmla="*/ 940378 w 997171"/>
                <a:gd name="connsiteY5" fmla="*/ 616527 h 718078"/>
                <a:gd name="connsiteX6" fmla="*/ 997091 w 997171"/>
                <a:gd name="connsiteY6" fmla="*/ 515908 h 718078"/>
                <a:gd name="connsiteX7" fmla="*/ 954099 w 997171"/>
                <a:gd name="connsiteY7" fmla="*/ 385103 h 718078"/>
                <a:gd name="connsiteX8" fmla="*/ 840711 w 997171"/>
                <a:gd name="connsiteY8" fmla="*/ 314309 h 718078"/>
                <a:gd name="connsiteX9" fmla="*/ 830612 w 997171"/>
                <a:gd name="connsiteY9" fmla="*/ 162828 h 718078"/>
                <a:gd name="connsiteX10" fmla="*/ 656117 w 997171"/>
                <a:gd name="connsiteY10" fmla="*/ 142006 h 718078"/>
                <a:gd name="connsiteX11" fmla="*/ 415332 w 997171"/>
                <a:gd name="connsiteY11" fmla="*/ 9 h 718078"/>
                <a:gd name="connsiteX12" fmla="*/ 224156 w 997171"/>
                <a:gd name="connsiteY12" fmla="*/ 86907 h 718078"/>
                <a:gd name="connsiteX13" fmla="*/ 148354 w 997171"/>
                <a:gd name="connsiteY13" fmla="*/ 274947 h 718078"/>
                <a:gd name="connsiteX14" fmla="*/ 11028 w 997171"/>
                <a:gd name="connsiteY14" fmla="*/ 354918 h 718078"/>
                <a:gd name="connsiteX15" fmla="*/ 9198 w 997171"/>
                <a:gd name="connsiteY15" fmla="*/ 500358 h 718078"/>
                <a:gd name="connsiteX16" fmla="*/ 64081 w 997171"/>
                <a:gd name="connsiteY16" fmla="*/ 644884 h 718078"/>
                <a:gd name="connsiteX17" fmla="*/ 243235 w 997171"/>
                <a:gd name="connsiteY17" fmla="*/ 718026 h 718078"/>
                <a:gd name="connsiteX0" fmla="*/ 234067 w 988003"/>
                <a:gd name="connsiteY0" fmla="*/ 718026 h 718078"/>
                <a:gd name="connsiteX1" fmla="*/ 430466 w 988003"/>
                <a:gd name="connsiteY1" fmla="*/ 717491 h 718078"/>
                <a:gd name="connsiteX2" fmla="*/ 532033 w 988003"/>
                <a:gd name="connsiteY2" fmla="*/ 717129 h 718078"/>
                <a:gd name="connsiteX3" fmla="*/ 639811 w 988003"/>
                <a:gd name="connsiteY3" fmla="*/ 718044 h 718078"/>
                <a:gd name="connsiteX4" fmla="*/ 814617 w 988003"/>
                <a:gd name="connsiteY4" fmla="*/ 717268 h 718078"/>
                <a:gd name="connsiteX5" fmla="*/ 931210 w 988003"/>
                <a:gd name="connsiteY5" fmla="*/ 616527 h 718078"/>
                <a:gd name="connsiteX6" fmla="*/ 987923 w 988003"/>
                <a:gd name="connsiteY6" fmla="*/ 515908 h 718078"/>
                <a:gd name="connsiteX7" fmla="*/ 944931 w 988003"/>
                <a:gd name="connsiteY7" fmla="*/ 385103 h 718078"/>
                <a:gd name="connsiteX8" fmla="*/ 831543 w 988003"/>
                <a:gd name="connsiteY8" fmla="*/ 314309 h 718078"/>
                <a:gd name="connsiteX9" fmla="*/ 821444 w 988003"/>
                <a:gd name="connsiteY9" fmla="*/ 162828 h 718078"/>
                <a:gd name="connsiteX10" fmla="*/ 646949 w 988003"/>
                <a:gd name="connsiteY10" fmla="*/ 142006 h 718078"/>
                <a:gd name="connsiteX11" fmla="*/ 406164 w 988003"/>
                <a:gd name="connsiteY11" fmla="*/ 9 h 718078"/>
                <a:gd name="connsiteX12" fmla="*/ 214988 w 988003"/>
                <a:gd name="connsiteY12" fmla="*/ 86907 h 718078"/>
                <a:gd name="connsiteX13" fmla="*/ 139186 w 988003"/>
                <a:gd name="connsiteY13" fmla="*/ 274947 h 718078"/>
                <a:gd name="connsiteX14" fmla="*/ 43022 w 988003"/>
                <a:gd name="connsiteY14" fmla="*/ 369554 h 718078"/>
                <a:gd name="connsiteX15" fmla="*/ 30 w 988003"/>
                <a:gd name="connsiteY15" fmla="*/ 500358 h 718078"/>
                <a:gd name="connsiteX16" fmla="*/ 54913 w 988003"/>
                <a:gd name="connsiteY16" fmla="*/ 644884 h 718078"/>
                <a:gd name="connsiteX17" fmla="*/ 234067 w 988003"/>
                <a:gd name="connsiteY17" fmla="*/ 718026 h 718078"/>
                <a:gd name="connsiteX0" fmla="*/ 234067 w 988003"/>
                <a:gd name="connsiteY0" fmla="*/ 718026 h 718078"/>
                <a:gd name="connsiteX1" fmla="*/ 430466 w 988003"/>
                <a:gd name="connsiteY1" fmla="*/ 717491 h 718078"/>
                <a:gd name="connsiteX2" fmla="*/ 532033 w 988003"/>
                <a:gd name="connsiteY2" fmla="*/ 717129 h 718078"/>
                <a:gd name="connsiteX3" fmla="*/ 639811 w 988003"/>
                <a:gd name="connsiteY3" fmla="*/ 718044 h 718078"/>
                <a:gd name="connsiteX4" fmla="*/ 814617 w 988003"/>
                <a:gd name="connsiteY4" fmla="*/ 717268 h 718078"/>
                <a:gd name="connsiteX5" fmla="*/ 931210 w 988003"/>
                <a:gd name="connsiteY5" fmla="*/ 616527 h 718078"/>
                <a:gd name="connsiteX6" fmla="*/ 987923 w 988003"/>
                <a:gd name="connsiteY6" fmla="*/ 515908 h 718078"/>
                <a:gd name="connsiteX7" fmla="*/ 944931 w 988003"/>
                <a:gd name="connsiteY7" fmla="*/ 385103 h 718078"/>
                <a:gd name="connsiteX8" fmla="*/ 831543 w 988003"/>
                <a:gd name="connsiteY8" fmla="*/ 314309 h 718078"/>
                <a:gd name="connsiteX9" fmla="*/ 821444 w 988003"/>
                <a:gd name="connsiteY9" fmla="*/ 162828 h 718078"/>
                <a:gd name="connsiteX10" fmla="*/ 646949 w 988003"/>
                <a:gd name="connsiteY10" fmla="*/ 142006 h 718078"/>
                <a:gd name="connsiteX11" fmla="*/ 406164 w 988003"/>
                <a:gd name="connsiteY11" fmla="*/ 9 h 718078"/>
                <a:gd name="connsiteX12" fmla="*/ 214988 w 988003"/>
                <a:gd name="connsiteY12" fmla="*/ 86907 h 718078"/>
                <a:gd name="connsiteX13" fmla="*/ 139186 w 988003"/>
                <a:gd name="connsiteY13" fmla="*/ 274947 h 718078"/>
                <a:gd name="connsiteX14" fmla="*/ 43022 w 988003"/>
                <a:gd name="connsiteY14" fmla="*/ 369554 h 718078"/>
                <a:gd name="connsiteX15" fmla="*/ 30 w 988003"/>
                <a:gd name="connsiteY15" fmla="*/ 500358 h 718078"/>
                <a:gd name="connsiteX16" fmla="*/ 54913 w 988003"/>
                <a:gd name="connsiteY16" fmla="*/ 644884 h 718078"/>
                <a:gd name="connsiteX17" fmla="*/ 234067 w 988003"/>
                <a:gd name="connsiteY17" fmla="*/ 718026 h 718078"/>
                <a:gd name="connsiteX0" fmla="*/ 234067 w 988003"/>
                <a:gd name="connsiteY0" fmla="*/ 718026 h 718078"/>
                <a:gd name="connsiteX1" fmla="*/ 430466 w 988003"/>
                <a:gd name="connsiteY1" fmla="*/ 717491 h 718078"/>
                <a:gd name="connsiteX2" fmla="*/ 532033 w 988003"/>
                <a:gd name="connsiteY2" fmla="*/ 717129 h 718078"/>
                <a:gd name="connsiteX3" fmla="*/ 639811 w 988003"/>
                <a:gd name="connsiteY3" fmla="*/ 718044 h 718078"/>
                <a:gd name="connsiteX4" fmla="*/ 814617 w 988003"/>
                <a:gd name="connsiteY4" fmla="*/ 717268 h 718078"/>
                <a:gd name="connsiteX5" fmla="*/ 931210 w 988003"/>
                <a:gd name="connsiteY5" fmla="*/ 616527 h 718078"/>
                <a:gd name="connsiteX6" fmla="*/ 987923 w 988003"/>
                <a:gd name="connsiteY6" fmla="*/ 515908 h 718078"/>
                <a:gd name="connsiteX7" fmla="*/ 944931 w 988003"/>
                <a:gd name="connsiteY7" fmla="*/ 385103 h 718078"/>
                <a:gd name="connsiteX8" fmla="*/ 831543 w 988003"/>
                <a:gd name="connsiteY8" fmla="*/ 314309 h 718078"/>
                <a:gd name="connsiteX9" fmla="*/ 821444 w 988003"/>
                <a:gd name="connsiteY9" fmla="*/ 162828 h 718078"/>
                <a:gd name="connsiteX10" fmla="*/ 646949 w 988003"/>
                <a:gd name="connsiteY10" fmla="*/ 142006 h 718078"/>
                <a:gd name="connsiteX11" fmla="*/ 406164 w 988003"/>
                <a:gd name="connsiteY11" fmla="*/ 9 h 718078"/>
                <a:gd name="connsiteX12" fmla="*/ 214988 w 988003"/>
                <a:gd name="connsiteY12" fmla="*/ 86907 h 718078"/>
                <a:gd name="connsiteX13" fmla="*/ 139186 w 988003"/>
                <a:gd name="connsiteY13" fmla="*/ 274947 h 718078"/>
                <a:gd name="connsiteX14" fmla="*/ 43022 w 988003"/>
                <a:gd name="connsiteY14" fmla="*/ 369554 h 718078"/>
                <a:gd name="connsiteX15" fmla="*/ 30 w 988003"/>
                <a:gd name="connsiteY15" fmla="*/ 500358 h 718078"/>
                <a:gd name="connsiteX16" fmla="*/ 54913 w 988003"/>
                <a:gd name="connsiteY16" fmla="*/ 644884 h 718078"/>
                <a:gd name="connsiteX17" fmla="*/ 234067 w 988003"/>
                <a:gd name="connsiteY17" fmla="*/ 718026 h 718078"/>
                <a:gd name="connsiteX0" fmla="*/ 234067 w 988003"/>
                <a:gd name="connsiteY0" fmla="*/ 718026 h 718078"/>
                <a:gd name="connsiteX1" fmla="*/ 430466 w 988003"/>
                <a:gd name="connsiteY1" fmla="*/ 717491 h 718078"/>
                <a:gd name="connsiteX2" fmla="*/ 532033 w 988003"/>
                <a:gd name="connsiteY2" fmla="*/ 717129 h 718078"/>
                <a:gd name="connsiteX3" fmla="*/ 639811 w 988003"/>
                <a:gd name="connsiteY3" fmla="*/ 718044 h 718078"/>
                <a:gd name="connsiteX4" fmla="*/ 814617 w 988003"/>
                <a:gd name="connsiteY4" fmla="*/ 717268 h 718078"/>
                <a:gd name="connsiteX5" fmla="*/ 931210 w 988003"/>
                <a:gd name="connsiteY5" fmla="*/ 616527 h 718078"/>
                <a:gd name="connsiteX6" fmla="*/ 987923 w 988003"/>
                <a:gd name="connsiteY6" fmla="*/ 515908 h 718078"/>
                <a:gd name="connsiteX7" fmla="*/ 944931 w 988003"/>
                <a:gd name="connsiteY7" fmla="*/ 385103 h 718078"/>
                <a:gd name="connsiteX8" fmla="*/ 831543 w 988003"/>
                <a:gd name="connsiteY8" fmla="*/ 314309 h 718078"/>
                <a:gd name="connsiteX9" fmla="*/ 821444 w 988003"/>
                <a:gd name="connsiteY9" fmla="*/ 162828 h 718078"/>
                <a:gd name="connsiteX10" fmla="*/ 646949 w 988003"/>
                <a:gd name="connsiteY10" fmla="*/ 142006 h 718078"/>
                <a:gd name="connsiteX11" fmla="*/ 406164 w 988003"/>
                <a:gd name="connsiteY11" fmla="*/ 9 h 718078"/>
                <a:gd name="connsiteX12" fmla="*/ 214988 w 988003"/>
                <a:gd name="connsiteY12" fmla="*/ 86907 h 718078"/>
                <a:gd name="connsiteX13" fmla="*/ 139186 w 988003"/>
                <a:gd name="connsiteY13" fmla="*/ 274947 h 718078"/>
                <a:gd name="connsiteX14" fmla="*/ 43022 w 988003"/>
                <a:gd name="connsiteY14" fmla="*/ 369554 h 718078"/>
                <a:gd name="connsiteX15" fmla="*/ 30 w 988003"/>
                <a:gd name="connsiteY15" fmla="*/ 500358 h 718078"/>
                <a:gd name="connsiteX16" fmla="*/ 54913 w 988003"/>
                <a:gd name="connsiteY16" fmla="*/ 644884 h 718078"/>
                <a:gd name="connsiteX17" fmla="*/ 234067 w 988003"/>
                <a:gd name="connsiteY17" fmla="*/ 718026 h 718078"/>
                <a:gd name="connsiteX0" fmla="*/ 234067 w 988003"/>
                <a:gd name="connsiteY0" fmla="*/ 718026 h 718078"/>
                <a:gd name="connsiteX1" fmla="*/ 430466 w 988003"/>
                <a:gd name="connsiteY1" fmla="*/ 717491 h 718078"/>
                <a:gd name="connsiteX2" fmla="*/ 532033 w 988003"/>
                <a:gd name="connsiteY2" fmla="*/ 717129 h 718078"/>
                <a:gd name="connsiteX3" fmla="*/ 639811 w 988003"/>
                <a:gd name="connsiteY3" fmla="*/ 718044 h 718078"/>
                <a:gd name="connsiteX4" fmla="*/ 814617 w 988003"/>
                <a:gd name="connsiteY4" fmla="*/ 717268 h 718078"/>
                <a:gd name="connsiteX5" fmla="*/ 931210 w 988003"/>
                <a:gd name="connsiteY5" fmla="*/ 616527 h 718078"/>
                <a:gd name="connsiteX6" fmla="*/ 987923 w 988003"/>
                <a:gd name="connsiteY6" fmla="*/ 515908 h 718078"/>
                <a:gd name="connsiteX7" fmla="*/ 944931 w 988003"/>
                <a:gd name="connsiteY7" fmla="*/ 385103 h 718078"/>
                <a:gd name="connsiteX8" fmla="*/ 831543 w 988003"/>
                <a:gd name="connsiteY8" fmla="*/ 314309 h 718078"/>
                <a:gd name="connsiteX9" fmla="*/ 821444 w 988003"/>
                <a:gd name="connsiteY9" fmla="*/ 162828 h 718078"/>
                <a:gd name="connsiteX10" fmla="*/ 646949 w 988003"/>
                <a:gd name="connsiteY10" fmla="*/ 142006 h 718078"/>
                <a:gd name="connsiteX11" fmla="*/ 406164 w 988003"/>
                <a:gd name="connsiteY11" fmla="*/ 9 h 718078"/>
                <a:gd name="connsiteX12" fmla="*/ 214988 w 988003"/>
                <a:gd name="connsiteY12" fmla="*/ 86907 h 718078"/>
                <a:gd name="connsiteX13" fmla="*/ 139186 w 988003"/>
                <a:gd name="connsiteY13" fmla="*/ 274947 h 718078"/>
                <a:gd name="connsiteX14" fmla="*/ 43022 w 988003"/>
                <a:gd name="connsiteY14" fmla="*/ 369554 h 718078"/>
                <a:gd name="connsiteX15" fmla="*/ 30 w 988003"/>
                <a:gd name="connsiteY15" fmla="*/ 500358 h 718078"/>
                <a:gd name="connsiteX16" fmla="*/ 54913 w 988003"/>
                <a:gd name="connsiteY16" fmla="*/ 644884 h 718078"/>
                <a:gd name="connsiteX17" fmla="*/ 234067 w 988003"/>
                <a:gd name="connsiteY17" fmla="*/ 718026 h 718078"/>
                <a:gd name="connsiteX0" fmla="*/ 234067 w 988003"/>
                <a:gd name="connsiteY0" fmla="*/ 718026 h 718078"/>
                <a:gd name="connsiteX1" fmla="*/ 430466 w 988003"/>
                <a:gd name="connsiteY1" fmla="*/ 717491 h 718078"/>
                <a:gd name="connsiteX2" fmla="*/ 532033 w 988003"/>
                <a:gd name="connsiteY2" fmla="*/ 717129 h 718078"/>
                <a:gd name="connsiteX3" fmla="*/ 639811 w 988003"/>
                <a:gd name="connsiteY3" fmla="*/ 718044 h 718078"/>
                <a:gd name="connsiteX4" fmla="*/ 814617 w 988003"/>
                <a:gd name="connsiteY4" fmla="*/ 717268 h 718078"/>
                <a:gd name="connsiteX5" fmla="*/ 931210 w 988003"/>
                <a:gd name="connsiteY5" fmla="*/ 616527 h 718078"/>
                <a:gd name="connsiteX6" fmla="*/ 987923 w 988003"/>
                <a:gd name="connsiteY6" fmla="*/ 515908 h 718078"/>
                <a:gd name="connsiteX7" fmla="*/ 944931 w 988003"/>
                <a:gd name="connsiteY7" fmla="*/ 385103 h 718078"/>
                <a:gd name="connsiteX8" fmla="*/ 831543 w 988003"/>
                <a:gd name="connsiteY8" fmla="*/ 314309 h 718078"/>
                <a:gd name="connsiteX9" fmla="*/ 821444 w 988003"/>
                <a:gd name="connsiteY9" fmla="*/ 162828 h 718078"/>
                <a:gd name="connsiteX10" fmla="*/ 646949 w 988003"/>
                <a:gd name="connsiteY10" fmla="*/ 142006 h 718078"/>
                <a:gd name="connsiteX11" fmla="*/ 406164 w 988003"/>
                <a:gd name="connsiteY11" fmla="*/ 9 h 718078"/>
                <a:gd name="connsiteX12" fmla="*/ 214988 w 988003"/>
                <a:gd name="connsiteY12" fmla="*/ 86907 h 718078"/>
                <a:gd name="connsiteX13" fmla="*/ 139186 w 988003"/>
                <a:gd name="connsiteY13" fmla="*/ 274947 h 718078"/>
                <a:gd name="connsiteX14" fmla="*/ 43022 w 988003"/>
                <a:gd name="connsiteY14" fmla="*/ 369554 h 718078"/>
                <a:gd name="connsiteX15" fmla="*/ 30 w 988003"/>
                <a:gd name="connsiteY15" fmla="*/ 500358 h 718078"/>
                <a:gd name="connsiteX16" fmla="*/ 54913 w 988003"/>
                <a:gd name="connsiteY16" fmla="*/ 644884 h 718078"/>
                <a:gd name="connsiteX17" fmla="*/ 234067 w 988003"/>
                <a:gd name="connsiteY17" fmla="*/ 718026 h 718078"/>
                <a:gd name="connsiteX0" fmla="*/ 234067 w 988545"/>
                <a:gd name="connsiteY0" fmla="*/ 718026 h 718078"/>
                <a:gd name="connsiteX1" fmla="*/ 430466 w 988545"/>
                <a:gd name="connsiteY1" fmla="*/ 717491 h 718078"/>
                <a:gd name="connsiteX2" fmla="*/ 532033 w 988545"/>
                <a:gd name="connsiteY2" fmla="*/ 717129 h 718078"/>
                <a:gd name="connsiteX3" fmla="*/ 639811 w 988545"/>
                <a:gd name="connsiteY3" fmla="*/ 718044 h 718078"/>
                <a:gd name="connsiteX4" fmla="*/ 814617 w 988545"/>
                <a:gd name="connsiteY4" fmla="*/ 717268 h 718078"/>
                <a:gd name="connsiteX5" fmla="*/ 960481 w 988545"/>
                <a:gd name="connsiteY5" fmla="*/ 637566 h 718078"/>
                <a:gd name="connsiteX6" fmla="*/ 987923 w 988545"/>
                <a:gd name="connsiteY6" fmla="*/ 515908 h 718078"/>
                <a:gd name="connsiteX7" fmla="*/ 944931 w 988545"/>
                <a:gd name="connsiteY7" fmla="*/ 385103 h 718078"/>
                <a:gd name="connsiteX8" fmla="*/ 831543 w 988545"/>
                <a:gd name="connsiteY8" fmla="*/ 314309 h 718078"/>
                <a:gd name="connsiteX9" fmla="*/ 821444 w 988545"/>
                <a:gd name="connsiteY9" fmla="*/ 162828 h 718078"/>
                <a:gd name="connsiteX10" fmla="*/ 646949 w 988545"/>
                <a:gd name="connsiteY10" fmla="*/ 142006 h 718078"/>
                <a:gd name="connsiteX11" fmla="*/ 406164 w 988545"/>
                <a:gd name="connsiteY11" fmla="*/ 9 h 718078"/>
                <a:gd name="connsiteX12" fmla="*/ 214988 w 988545"/>
                <a:gd name="connsiteY12" fmla="*/ 86907 h 718078"/>
                <a:gd name="connsiteX13" fmla="*/ 139186 w 988545"/>
                <a:gd name="connsiteY13" fmla="*/ 274947 h 718078"/>
                <a:gd name="connsiteX14" fmla="*/ 43022 w 988545"/>
                <a:gd name="connsiteY14" fmla="*/ 369554 h 718078"/>
                <a:gd name="connsiteX15" fmla="*/ 30 w 988545"/>
                <a:gd name="connsiteY15" fmla="*/ 500358 h 718078"/>
                <a:gd name="connsiteX16" fmla="*/ 54913 w 988545"/>
                <a:gd name="connsiteY16" fmla="*/ 644884 h 718078"/>
                <a:gd name="connsiteX17" fmla="*/ 234067 w 988545"/>
                <a:gd name="connsiteY17" fmla="*/ 718026 h 718078"/>
                <a:gd name="connsiteX0" fmla="*/ 234067 w 988545"/>
                <a:gd name="connsiteY0" fmla="*/ 718026 h 718078"/>
                <a:gd name="connsiteX1" fmla="*/ 430466 w 988545"/>
                <a:gd name="connsiteY1" fmla="*/ 717491 h 718078"/>
                <a:gd name="connsiteX2" fmla="*/ 532033 w 988545"/>
                <a:gd name="connsiteY2" fmla="*/ 717129 h 718078"/>
                <a:gd name="connsiteX3" fmla="*/ 639811 w 988545"/>
                <a:gd name="connsiteY3" fmla="*/ 718044 h 718078"/>
                <a:gd name="connsiteX4" fmla="*/ 814617 w 988545"/>
                <a:gd name="connsiteY4" fmla="*/ 717268 h 718078"/>
                <a:gd name="connsiteX5" fmla="*/ 960481 w 988545"/>
                <a:gd name="connsiteY5" fmla="*/ 637566 h 718078"/>
                <a:gd name="connsiteX6" fmla="*/ 987923 w 988545"/>
                <a:gd name="connsiteY6" fmla="*/ 515908 h 718078"/>
                <a:gd name="connsiteX7" fmla="*/ 944931 w 988545"/>
                <a:gd name="connsiteY7" fmla="*/ 385103 h 718078"/>
                <a:gd name="connsiteX8" fmla="*/ 831543 w 988545"/>
                <a:gd name="connsiteY8" fmla="*/ 314309 h 718078"/>
                <a:gd name="connsiteX9" fmla="*/ 821444 w 988545"/>
                <a:gd name="connsiteY9" fmla="*/ 162828 h 718078"/>
                <a:gd name="connsiteX10" fmla="*/ 646949 w 988545"/>
                <a:gd name="connsiteY10" fmla="*/ 142006 h 718078"/>
                <a:gd name="connsiteX11" fmla="*/ 406164 w 988545"/>
                <a:gd name="connsiteY11" fmla="*/ 9 h 718078"/>
                <a:gd name="connsiteX12" fmla="*/ 214988 w 988545"/>
                <a:gd name="connsiteY12" fmla="*/ 86907 h 718078"/>
                <a:gd name="connsiteX13" fmla="*/ 139186 w 988545"/>
                <a:gd name="connsiteY13" fmla="*/ 274947 h 718078"/>
                <a:gd name="connsiteX14" fmla="*/ 43022 w 988545"/>
                <a:gd name="connsiteY14" fmla="*/ 369554 h 718078"/>
                <a:gd name="connsiteX15" fmla="*/ 30 w 988545"/>
                <a:gd name="connsiteY15" fmla="*/ 500358 h 718078"/>
                <a:gd name="connsiteX16" fmla="*/ 54913 w 988545"/>
                <a:gd name="connsiteY16" fmla="*/ 644884 h 718078"/>
                <a:gd name="connsiteX17" fmla="*/ 234067 w 988545"/>
                <a:gd name="connsiteY17" fmla="*/ 718026 h 718078"/>
                <a:gd name="connsiteX0" fmla="*/ 280650 w 988545"/>
                <a:gd name="connsiteY0" fmla="*/ 718026 h 718078"/>
                <a:gd name="connsiteX1" fmla="*/ 430466 w 988545"/>
                <a:gd name="connsiteY1" fmla="*/ 717491 h 718078"/>
                <a:gd name="connsiteX2" fmla="*/ 532033 w 988545"/>
                <a:gd name="connsiteY2" fmla="*/ 717129 h 718078"/>
                <a:gd name="connsiteX3" fmla="*/ 639811 w 988545"/>
                <a:gd name="connsiteY3" fmla="*/ 718044 h 718078"/>
                <a:gd name="connsiteX4" fmla="*/ 814617 w 988545"/>
                <a:gd name="connsiteY4" fmla="*/ 717268 h 718078"/>
                <a:gd name="connsiteX5" fmla="*/ 960481 w 988545"/>
                <a:gd name="connsiteY5" fmla="*/ 637566 h 718078"/>
                <a:gd name="connsiteX6" fmla="*/ 987923 w 988545"/>
                <a:gd name="connsiteY6" fmla="*/ 515908 h 718078"/>
                <a:gd name="connsiteX7" fmla="*/ 944931 w 988545"/>
                <a:gd name="connsiteY7" fmla="*/ 385103 h 718078"/>
                <a:gd name="connsiteX8" fmla="*/ 831543 w 988545"/>
                <a:gd name="connsiteY8" fmla="*/ 314309 h 718078"/>
                <a:gd name="connsiteX9" fmla="*/ 821444 w 988545"/>
                <a:gd name="connsiteY9" fmla="*/ 162828 h 718078"/>
                <a:gd name="connsiteX10" fmla="*/ 646949 w 988545"/>
                <a:gd name="connsiteY10" fmla="*/ 142006 h 718078"/>
                <a:gd name="connsiteX11" fmla="*/ 406164 w 988545"/>
                <a:gd name="connsiteY11" fmla="*/ 9 h 718078"/>
                <a:gd name="connsiteX12" fmla="*/ 214988 w 988545"/>
                <a:gd name="connsiteY12" fmla="*/ 86907 h 718078"/>
                <a:gd name="connsiteX13" fmla="*/ 139186 w 988545"/>
                <a:gd name="connsiteY13" fmla="*/ 274947 h 718078"/>
                <a:gd name="connsiteX14" fmla="*/ 43022 w 988545"/>
                <a:gd name="connsiteY14" fmla="*/ 369554 h 718078"/>
                <a:gd name="connsiteX15" fmla="*/ 30 w 988545"/>
                <a:gd name="connsiteY15" fmla="*/ 500358 h 718078"/>
                <a:gd name="connsiteX16" fmla="*/ 54913 w 988545"/>
                <a:gd name="connsiteY16" fmla="*/ 644884 h 718078"/>
                <a:gd name="connsiteX17" fmla="*/ 280650 w 988545"/>
                <a:gd name="connsiteY17" fmla="*/ 718026 h 718078"/>
                <a:gd name="connsiteX0" fmla="*/ 280650 w 988545"/>
                <a:gd name="connsiteY0" fmla="*/ 718026 h 718078"/>
                <a:gd name="connsiteX1" fmla="*/ 421150 w 988545"/>
                <a:gd name="connsiteY1" fmla="*/ 717491 h 718078"/>
                <a:gd name="connsiteX2" fmla="*/ 532033 w 988545"/>
                <a:gd name="connsiteY2" fmla="*/ 717129 h 718078"/>
                <a:gd name="connsiteX3" fmla="*/ 639811 w 988545"/>
                <a:gd name="connsiteY3" fmla="*/ 718044 h 718078"/>
                <a:gd name="connsiteX4" fmla="*/ 814617 w 988545"/>
                <a:gd name="connsiteY4" fmla="*/ 717268 h 718078"/>
                <a:gd name="connsiteX5" fmla="*/ 960481 w 988545"/>
                <a:gd name="connsiteY5" fmla="*/ 637566 h 718078"/>
                <a:gd name="connsiteX6" fmla="*/ 987923 w 988545"/>
                <a:gd name="connsiteY6" fmla="*/ 515908 h 718078"/>
                <a:gd name="connsiteX7" fmla="*/ 944931 w 988545"/>
                <a:gd name="connsiteY7" fmla="*/ 385103 h 718078"/>
                <a:gd name="connsiteX8" fmla="*/ 831543 w 988545"/>
                <a:gd name="connsiteY8" fmla="*/ 314309 h 718078"/>
                <a:gd name="connsiteX9" fmla="*/ 821444 w 988545"/>
                <a:gd name="connsiteY9" fmla="*/ 162828 h 718078"/>
                <a:gd name="connsiteX10" fmla="*/ 646949 w 988545"/>
                <a:gd name="connsiteY10" fmla="*/ 142006 h 718078"/>
                <a:gd name="connsiteX11" fmla="*/ 406164 w 988545"/>
                <a:gd name="connsiteY11" fmla="*/ 9 h 718078"/>
                <a:gd name="connsiteX12" fmla="*/ 214988 w 988545"/>
                <a:gd name="connsiteY12" fmla="*/ 86907 h 718078"/>
                <a:gd name="connsiteX13" fmla="*/ 139186 w 988545"/>
                <a:gd name="connsiteY13" fmla="*/ 274947 h 718078"/>
                <a:gd name="connsiteX14" fmla="*/ 43022 w 988545"/>
                <a:gd name="connsiteY14" fmla="*/ 369554 h 718078"/>
                <a:gd name="connsiteX15" fmla="*/ 30 w 988545"/>
                <a:gd name="connsiteY15" fmla="*/ 500358 h 718078"/>
                <a:gd name="connsiteX16" fmla="*/ 54913 w 988545"/>
                <a:gd name="connsiteY16" fmla="*/ 644884 h 718078"/>
                <a:gd name="connsiteX17" fmla="*/ 280650 w 988545"/>
                <a:gd name="connsiteY17" fmla="*/ 718026 h 718078"/>
                <a:gd name="connsiteX0" fmla="*/ 280650 w 988545"/>
                <a:gd name="connsiteY0" fmla="*/ 718026 h 718078"/>
                <a:gd name="connsiteX1" fmla="*/ 421150 w 988545"/>
                <a:gd name="connsiteY1" fmla="*/ 717491 h 718078"/>
                <a:gd name="connsiteX2" fmla="*/ 558652 w 988545"/>
                <a:gd name="connsiteY2" fmla="*/ 715798 h 718078"/>
                <a:gd name="connsiteX3" fmla="*/ 639811 w 988545"/>
                <a:gd name="connsiteY3" fmla="*/ 718044 h 718078"/>
                <a:gd name="connsiteX4" fmla="*/ 814617 w 988545"/>
                <a:gd name="connsiteY4" fmla="*/ 717268 h 718078"/>
                <a:gd name="connsiteX5" fmla="*/ 960481 w 988545"/>
                <a:gd name="connsiteY5" fmla="*/ 637566 h 718078"/>
                <a:gd name="connsiteX6" fmla="*/ 987923 w 988545"/>
                <a:gd name="connsiteY6" fmla="*/ 515908 h 718078"/>
                <a:gd name="connsiteX7" fmla="*/ 944931 w 988545"/>
                <a:gd name="connsiteY7" fmla="*/ 385103 h 718078"/>
                <a:gd name="connsiteX8" fmla="*/ 831543 w 988545"/>
                <a:gd name="connsiteY8" fmla="*/ 314309 h 718078"/>
                <a:gd name="connsiteX9" fmla="*/ 821444 w 988545"/>
                <a:gd name="connsiteY9" fmla="*/ 162828 h 718078"/>
                <a:gd name="connsiteX10" fmla="*/ 646949 w 988545"/>
                <a:gd name="connsiteY10" fmla="*/ 142006 h 718078"/>
                <a:gd name="connsiteX11" fmla="*/ 406164 w 988545"/>
                <a:gd name="connsiteY11" fmla="*/ 9 h 718078"/>
                <a:gd name="connsiteX12" fmla="*/ 214988 w 988545"/>
                <a:gd name="connsiteY12" fmla="*/ 86907 h 718078"/>
                <a:gd name="connsiteX13" fmla="*/ 139186 w 988545"/>
                <a:gd name="connsiteY13" fmla="*/ 274947 h 718078"/>
                <a:gd name="connsiteX14" fmla="*/ 43022 w 988545"/>
                <a:gd name="connsiteY14" fmla="*/ 369554 h 718078"/>
                <a:gd name="connsiteX15" fmla="*/ 30 w 988545"/>
                <a:gd name="connsiteY15" fmla="*/ 500358 h 718078"/>
                <a:gd name="connsiteX16" fmla="*/ 54913 w 988545"/>
                <a:gd name="connsiteY16" fmla="*/ 644884 h 718078"/>
                <a:gd name="connsiteX17" fmla="*/ 280650 w 988545"/>
                <a:gd name="connsiteY17" fmla="*/ 718026 h 718078"/>
                <a:gd name="connsiteX0" fmla="*/ 280650 w 988545"/>
                <a:gd name="connsiteY0" fmla="*/ 718026 h 718078"/>
                <a:gd name="connsiteX1" fmla="*/ 421150 w 988545"/>
                <a:gd name="connsiteY1" fmla="*/ 717491 h 718078"/>
                <a:gd name="connsiteX2" fmla="*/ 558652 w 988545"/>
                <a:gd name="connsiteY2" fmla="*/ 715798 h 718078"/>
                <a:gd name="connsiteX3" fmla="*/ 699703 w 988545"/>
                <a:gd name="connsiteY3" fmla="*/ 715382 h 718078"/>
                <a:gd name="connsiteX4" fmla="*/ 814617 w 988545"/>
                <a:gd name="connsiteY4" fmla="*/ 717268 h 718078"/>
                <a:gd name="connsiteX5" fmla="*/ 960481 w 988545"/>
                <a:gd name="connsiteY5" fmla="*/ 637566 h 718078"/>
                <a:gd name="connsiteX6" fmla="*/ 987923 w 988545"/>
                <a:gd name="connsiteY6" fmla="*/ 515908 h 718078"/>
                <a:gd name="connsiteX7" fmla="*/ 944931 w 988545"/>
                <a:gd name="connsiteY7" fmla="*/ 385103 h 718078"/>
                <a:gd name="connsiteX8" fmla="*/ 831543 w 988545"/>
                <a:gd name="connsiteY8" fmla="*/ 314309 h 718078"/>
                <a:gd name="connsiteX9" fmla="*/ 821444 w 988545"/>
                <a:gd name="connsiteY9" fmla="*/ 162828 h 718078"/>
                <a:gd name="connsiteX10" fmla="*/ 646949 w 988545"/>
                <a:gd name="connsiteY10" fmla="*/ 142006 h 718078"/>
                <a:gd name="connsiteX11" fmla="*/ 406164 w 988545"/>
                <a:gd name="connsiteY11" fmla="*/ 9 h 718078"/>
                <a:gd name="connsiteX12" fmla="*/ 214988 w 988545"/>
                <a:gd name="connsiteY12" fmla="*/ 86907 h 718078"/>
                <a:gd name="connsiteX13" fmla="*/ 139186 w 988545"/>
                <a:gd name="connsiteY13" fmla="*/ 274947 h 718078"/>
                <a:gd name="connsiteX14" fmla="*/ 43022 w 988545"/>
                <a:gd name="connsiteY14" fmla="*/ 369554 h 718078"/>
                <a:gd name="connsiteX15" fmla="*/ 30 w 988545"/>
                <a:gd name="connsiteY15" fmla="*/ 500358 h 718078"/>
                <a:gd name="connsiteX16" fmla="*/ 54913 w 988545"/>
                <a:gd name="connsiteY16" fmla="*/ 644884 h 718078"/>
                <a:gd name="connsiteX17" fmla="*/ 280650 w 988545"/>
                <a:gd name="connsiteY17" fmla="*/ 718026 h 718078"/>
                <a:gd name="connsiteX0" fmla="*/ 280650 w 988545"/>
                <a:gd name="connsiteY0" fmla="*/ 718026 h 718078"/>
                <a:gd name="connsiteX1" fmla="*/ 421150 w 988545"/>
                <a:gd name="connsiteY1" fmla="*/ 717491 h 718078"/>
                <a:gd name="connsiteX2" fmla="*/ 558652 w 988545"/>
                <a:gd name="connsiteY2" fmla="*/ 715798 h 718078"/>
                <a:gd name="connsiteX3" fmla="*/ 699703 w 988545"/>
                <a:gd name="connsiteY3" fmla="*/ 715382 h 718078"/>
                <a:gd name="connsiteX4" fmla="*/ 831919 w 988545"/>
                <a:gd name="connsiteY4" fmla="*/ 715937 h 718078"/>
                <a:gd name="connsiteX5" fmla="*/ 960481 w 988545"/>
                <a:gd name="connsiteY5" fmla="*/ 637566 h 718078"/>
                <a:gd name="connsiteX6" fmla="*/ 987923 w 988545"/>
                <a:gd name="connsiteY6" fmla="*/ 515908 h 718078"/>
                <a:gd name="connsiteX7" fmla="*/ 944931 w 988545"/>
                <a:gd name="connsiteY7" fmla="*/ 385103 h 718078"/>
                <a:gd name="connsiteX8" fmla="*/ 831543 w 988545"/>
                <a:gd name="connsiteY8" fmla="*/ 314309 h 718078"/>
                <a:gd name="connsiteX9" fmla="*/ 821444 w 988545"/>
                <a:gd name="connsiteY9" fmla="*/ 162828 h 718078"/>
                <a:gd name="connsiteX10" fmla="*/ 646949 w 988545"/>
                <a:gd name="connsiteY10" fmla="*/ 142006 h 718078"/>
                <a:gd name="connsiteX11" fmla="*/ 406164 w 988545"/>
                <a:gd name="connsiteY11" fmla="*/ 9 h 718078"/>
                <a:gd name="connsiteX12" fmla="*/ 214988 w 988545"/>
                <a:gd name="connsiteY12" fmla="*/ 86907 h 718078"/>
                <a:gd name="connsiteX13" fmla="*/ 139186 w 988545"/>
                <a:gd name="connsiteY13" fmla="*/ 274947 h 718078"/>
                <a:gd name="connsiteX14" fmla="*/ 43022 w 988545"/>
                <a:gd name="connsiteY14" fmla="*/ 369554 h 718078"/>
                <a:gd name="connsiteX15" fmla="*/ 30 w 988545"/>
                <a:gd name="connsiteY15" fmla="*/ 500358 h 718078"/>
                <a:gd name="connsiteX16" fmla="*/ 54913 w 988545"/>
                <a:gd name="connsiteY16" fmla="*/ 644884 h 718078"/>
                <a:gd name="connsiteX17" fmla="*/ 280650 w 988545"/>
                <a:gd name="connsiteY17" fmla="*/ 718026 h 718078"/>
                <a:gd name="connsiteX0" fmla="*/ 277992 w 985887"/>
                <a:gd name="connsiteY0" fmla="*/ 718026 h 718078"/>
                <a:gd name="connsiteX1" fmla="*/ 418492 w 985887"/>
                <a:gd name="connsiteY1" fmla="*/ 717491 h 718078"/>
                <a:gd name="connsiteX2" fmla="*/ 555994 w 985887"/>
                <a:gd name="connsiteY2" fmla="*/ 715798 h 718078"/>
                <a:gd name="connsiteX3" fmla="*/ 697045 w 985887"/>
                <a:gd name="connsiteY3" fmla="*/ 715382 h 718078"/>
                <a:gd name="connsiteX4" fmla="*/ 829261 w 985887"/>
                <a:gd name="connsiteY4" fmla="*/ 715937 h 718078"/>
                <a:gd name="connsiteX5" fmla="*/ 957823 w 985887"/>
                <a:gd name="connsiteY5" fmla="*/ 637566 h 718078"/>
                <a:gd name="connsiteX6" fmla="*/ 985265 w 985887"/>
                <a:gd name="connsiteY6" fmla="*/ 515908 h 718078"/>
                <a:gd name="connsiteX7" fmla="*/ 942273 w 985887"/>
                <a:gd name="connsiteY7" fmla="*/ 385103 h 718078"/>
                <a:gd name="connsiteX8" fmla="*/ 828885 w 985887"/>
                <a:gd name="connsiteY8" fmla="*/ 314309 h 718078"/>
                <a:gd name="connsiteX9" fmla="*/ 818786 w 985887"/>
                <a:gd name="connsiteY9" fmla="*/ 162828 h 718078"/>
                <a:gd name="connsiteX10" fmla="*/ 644291 w 985887"/>
                <a:gd name="connsiteY10" fmla="*/ 142006 h 718078"/>
                <a:gd name="connsiteX11" fmla="*/ 403506 w 985887"/>
                <a:gd name="connsiteY11" fmla="*/ 9 h 718078"/>
                <a:gd name="connsiteX12" fmla="*/ 212330 w 985887"/>
                <a:gd name="connsiteY12" fmla="*/ 86907 h 718078"/>
                <a:gd name="connsiteX13" fmla="*/ 136528 w 985887"/>
                <a:gd name="connsiteY13" fmla="*/ 274947 h 718078"/>
                <a:gd name="connsiteX14" fmla="*/ 40364 w 985887"/>
                <a:gd name="connsiteY14" fmla="*/ 369554 h 718078"/>
                <a:gd name="connsiteX15" fmla="*/ 34 w 985887"/>
                <a:gd name="connsiteY15" fmla="*/ 483056 h 718078"/>
                <a:gd name="connsiteX16" fmla="*/ 52255 w 985887"/>
                <a:gd name="connsiteY16" fmla="*/ 644884 h 718078"/>
                <a:gd name="connsiteX17" fmla="*/ 277992 w 985887"/>
                <a:gd name="connsiteY17" fmla="*/ 718026 h 718078"/>
                <a:gd name="connsiteX0" fmla="*/ 277992 w 978684"/>
                <a:gd name="connsiteY0" fmla="*/ 718026 h 718078"/>
                <a:gd name="connsiteX1" fmla="*/ 418492 w 978684"/>
                <a:gd name="connsiteY1" fmla="*/ 717491 h 718078"/>
                <a:gd name="connsiteX2" fmla="*/ 555994 w 978684"/>
                <a:gd name="connsiteY2" fmla="*/ 715798 h 718078"/>
                <a:gd name="connsiteX3" fmla="*/ 697045 w 978684"/>
                <a:gd name="connsiteY3" fmla="*/ 715382 h 718078"/>
                <a:gd name="connsiteX4" fmla="*/ 829261 w 978684"/>
                <a:gd name="connsiteY4" fmla="*/ 715937 h 718078"/>
                <a:gd name="connsiteX5" fmla="*/ 957823 w 978684"/>
                <a:gd name="connsiteY5" fmla="*/ 637566 h 718078"/>
                <a:gd name="connsiteX6" fmla="*/ 975949 w 978684"/>
                <a:gd name="connsiteY6" fmla="*/ 482634 h 718078"/>
                <a:gd name="connsiteX7" fmla="*/ 942273 w 978684"/>
                <a:gd name="connsiteY7" fmla="*/ 385103 h 718078"/>
                <a:gd name="connsiteX8" fmla="*/ 828885 w 978684"/>
                <a:gd name="connsiteY8" fmla="*/ 314309 h 718078"/>
                <a:gd name="connsiteX9" fmla="*/ 818786 w 978684"/>
                <a:gd name="connsiteY9" fmla="*/ 162828 h 718078"/>
                <a:gd name="connsiteX10" fmla="*/ 644291 w 978684"/>
                <a:gd name="connsiteY10" fmla="*/ 142006 h 718078"/>
                <a:gd name="connsiteX11" fmla="*/ 403506 w 978684"/>
                <a:gd name="connsiteY11" fmla="*/ 9 h 718078"/>
                <a:gd name="connsiteX12" fmla="*/ 212330 w 978684"/>
                <a:gd name="connsiteY12" fmla="*/ 86907 h 718078"/>
                <a:gd name="connsiteX13" fmla="*/ 136528 w 978684"/>
                <a:gd name="connsiteY13" fmla="*/ 274947 h 718078"/>
                <a:gd name="connsiteX14" fmla="*/ 40364 w 978684"/>
                <a:gd name="connsiteY14" fmla="*/ 369554 h 718078"/>
                <a:gd name="connsiteX15" fmla="*/ 34 w 978684"/>
                <a:gd name="connsiteY15" fmla="*/ 483056 h 718078"/>
                <a:gd name="connsiteX16" fmla="*/ 52255 w 978684"/>
                <a:gd name="connsiteY16" fmla="*/ 644884 h 718078"/>
                <a:gd name="connsiteX17" fmla="*/ 277992 w 978684"/>
                <a:gd name="connsiteY17" fmla="*/ 718026 h 718078"/>
                <a:gd name="connsiteX0" fmla="*/ 277992 w 978684"/>
                <a:gd name="connsiteY0" fmla="*/ 718026 h 718078"/>
                <a:gd name="connsiteX1" fmla="*/ 418492 w 978684"/>
                <a:gd name="connsiteY1" fmla="*/ 717491 h 718078"/>
                <a:gd name="connsiteX2" fmla="*/ 555994 w 978684"/>
                <a:gd name="connsiteY2" fmla="*/ 715798 h 718078"/>
                <a:gd name="connsiteX3" fmla="*/ 697045 w 978684"/>
                <a:gd name="connsiteY3" fmla="*/ 715382 h 718078"/>
                <a:gd name="connsiteX4" fmla="*/ 829261 w 978684"/>
                <a:gd name="connsiteY4" fmla="*/ 715937 h 718078"/>
                <a:gd name="connsiteX5" fmla="*/ 957823 w 978684"/>
                <a:gd name="connsiteY5" fmla="*/ 637566 h 718078"/>
                <a:gd name="connsiteX6" fmla="*/ 975949 w 978684"/>
                <a:gd name="connsiteY6" fmla="*/ 482634 h 718078"/>
                <a:gd name="connsiteX7" fmla="*/ 942273 w 978684"/>
                <a:gd name="connsiteY7" fmla="*/ 385103 h 718078"/>
                <a:gd name="connsiteX8" fmla="*/ 828885 w 978684"/>
                <a:gd name="connsiteY8" fmla="*/ 314309 h 718078"/>
                <a:gd name="connsiteX9" fmla="*/ 818786 w 978684"/>
                <a:gd name="connsiteY9" fmla="*/ 162828 h 718078"/>
                <a:gd name="connsiteX10" fmla="*/ 644291 w 978684"/>
                <a:gd name="connsiteY10" fmla="*/ 142006 h 718078"/>
                <a:gd name="connsiteX11" fmla="*/ 403506 w 978684"/>
                <a:gd name="connsiteY11" fmla="*/ 9 h 718078"/>
                <a:gd name="connsiteX12" fmla="*/ 212330 w 978684"/>
                <a:gd name="connsiteY12" fmla="*/ 86907 h 718078"/>
                <a:gd name="connsiteX13" fmla="*/ 135197 w 978684"/>
                <a:gd name="connsiteY13" fmla="*/ 243004 h 718078"/>
                <a:gd name="connsiteX14" fmla="*/ 40364 w 978684"/>
                <a:gd name="connsiteY14" fmla="*/ 369554 h 718078"/>
                <a:gd name="connsiteX15" fmla="*/ 34 w 978684"/>
                <a:gd name="connsiteY15" fmla="*/ 483056 h 718078"/>
                <a:gd name="connsiteX16" fmla="*/ 52255 w 978684"/>
                <a:gd name="connsiteY16" fmla="*/ 644884 h 718078"/>
                <a:gd name="connsiteX17" fmla="*/ 277992 w 978684"/>
                <a:gd name="connsiteY17" fmla="*/ 718026 h 718078"/>
                <a:gd name="connsiteX0" fmla="*/ 277992 w 978684"/>
                <a:gd name="connsiteY0" fmla="*/ 718026 h 718078"/>
                <a:gd name="connsiteX1" fmla="*/ 418492 w 978684"/>
                <a:gd name="connsiteY1" fmla="*/ 717491 h 718078"/>
                <a:gd name="connsiteX2" fmla="*/ 555994 w 978684"/>
                <a:gd name="connsiteY2" fmla="*/ 715798 h 718078"/>
                <a:gd name="connsiteX3" fmla="*/ 697045 w 978684"/>
                <a:gd name="connsiteY3" fmla="*/ 715382 h 718078"/>
                <a:gd name="connsiteX4" fmla="*/ 829261 w 978684"/>
                <a:gd name="connsiteY4" fmla="*/ 715937 h 718078"/>
                <a:gd name="connsiteX5" fmla="*/ 957823 w 978684"/>
                <a:gd name="connsiteY5" fmla="*/ 637566 h 718078"/>
                <a:gd name="connsiteX6" fmla="*/ 975949 w 978684"/>
                <a:gd name="connsiteY6" fmla="*/ 482634 h 718078"/>
                <a:gd name="connsiteX7" fmla="*/ 942273 w 978684"/>
                <a:gd name="connsiteY7" fmla="*/ 385103 h 718078"/>
                <a:gd name="connsiteX8" fmla="*/ 828885 w 978684"/>
                <a:gd name="connsiteY8" fmla="*/ 314309 h 718078"/>
                <a:gd name="connsiteX9" fmla="*/ 818786 w 978684"/>
                <a:gd name="connsiteY9" fmla="*/ 162828 h 718078"/>
                <a:gd name="connsiteX10" fmla="*/ 644291 w 978684"/>
                <a:gd name="connsiteY10" fmla="*/ 142006 h 718078"/>
                <a:gd name="connsiteX11" fmla="*/ 403506 w 978684"/>
                <a:gd name="connsiteY11" fmla="*/ 9 h 718078"/>
                <a:gd name="connsiteX12" fmla="*/ 212330 w 978684"/>
                <a:gd name="connsiteY12" fmla="*/ 86907 h 718078"/>
                <a:gd name="connsiteX13" fmla="*/ 137859 w 978684"/>
                <a:gd name="connsiteY13" fmla="*/ 278939 h 718078"/>
                <a:gd name="connsiteX14" fmla="*/ 40364 w 978684"/>
                <a:gd name="connsiteY14" fmla="*/ 369554 h 718078"/>
                <a:gd name="connsiteX15" fmla="*/ 34 w 978684"/>
                <a:gd name="connsiteY15" fmla="*/ 483056 h 718078"/>
                <a:gd name="connsiteX16" fmla="*/ 52255 w 978684"/>
                <a:gd name="connsiteY16" fmla="*/ 644884 h 718078"/>
                <a:gd name="connsiteX17" fmla="*/ 277992 w 978684"/>
                <a:gd name="connsiteY17" fmla="*/ 718026 h 718078"/>
                <a:gd name="connsiteX0" fmla="*/ 241308 w 978684"/>
                <a:gd name="connsiteY0" fmla="*/ 719773 h 719821"/>
                <a:gd name="connsiteX1" fmla="*/ 418492 w 978684"/>
                <a:gd name="connsiteY1" fmla="*/ 717491 h 719821"/>
                <a:gd name="connsiteX2" fmla="*/ 555994 w 978684"/>
                <a:gd name="connsiteY2" fmla="*/ 715798 h 719821"/>
                <a:gd name="connsiteX3" fmla="*/ 697045 w 978684"/>
                <a:gd name="connsiteY3" fmla="*/ 715382 h 719821"/>
                <a:gd name="connsiteX4" fmla="*/ 829261 w 978684"/>
                <a:gd name="connsiteY4" fmla="*/ 715937 h 719821"/>
                <a:gd name="connsiteX5" fmla="*/ 957823 w 978684"/>
                <a:gd name="connsiteY5" fmla="*/ 637566 h 719821"/>
                <a:gd name="connsiteX6" fmla="*/ 975949 w 978684"/>
                <a:gd name="connsiteY6" fmla="*/ 482634 h 719821"/>
                <a:gd name="connsiteX7" fmla="*/ 942273 w 978684"/>
                <a:gd name="connsiteY7" fmla="*/ 385103 h 719821"/>
                <a:gd name="connsiteX8" fmla="*/ 828885 w 978684"/>
                <a:gd name="connsiteY8" fmla="*/ 314309 h 719821"/>
                <a:gd name="connsiteX9" fmla="*/ 818786 w 978684"/>
                <a:gd name="connsiteY9" fmla="*/ 162828 h 719821"/>
                <a:gd name="connsiteX10" fmla="*/ 644291 w 978684"/>
                <a:gd name="connsiteY10" fmla="*/ 142006 h 719821"/>
                <a:gd name="connsiteX11" fmla="*/ 403506 w 978684"/>
                <a:gd name="connsiteY11" fmla="*/ 9 h 719821"/>
                <a:gd name="connsiteX12" fmla="*/ 212330 w 978684"/>
                <a:gd name="connsiteY12" fmla="*/ 86907 h 719821"/>
                <a:gd name="connsiteX13" fmla="*/ 137859 w 978684"/>
                <a:gd name="connsiteY13" fmla="*/ 278939 h 719821"/>
                <a:gd name="connsiteX14" fmla="*/ 40364 w 978684"/>
                <a:gd name="connsiteY14" fmla="*/ 369554 h 719821"/>
                <a:gd name="connsiteX15" fmla="*/ 34 w 978684"/>
                <a:gd name="connsiteY15" fmla="*/ 483056 h 719821"/>
                <a:gd name="connsiteX16" fmla="*/ 52255 w 978684"/>
                <a:gd name="connsiteY16" fmla="*/ 644884 h 719821"/>
                <a:gd name="connsiteX17" fmla="*/ 241308 w 978684"/>
                <a:gd name="connsiteY17" fmla="*/ 719773 h 719821"/>
                <a:gd name="connsiteX0" fmla="*/ 241308 w 978684"/>
                <a:gd name="connsiteY0" fmla="*/ 719773 h 721177"/>
                <a:gd name="connsiteX1" fmla="*/ 418492 w 978684"/>
                <a:gd name="connsiteY1" fmla="*/ 717491 h 721177"/>
                <a:gd name="connsiteX2" fmla="*/ 555994 w 978684"/>
                <a:gd name="connsiteY2" fmla="*/ 715798 h 721177"/>
                <a:gd name="connsiteX3" fmla="*/ 697045 w 978684"/>
                <a:gd name="connsiteY3" fmla="*/ 715382 h 721177"/>
                <a:gd name="connsiteX4" fmla="*/ 836248 w 978684"/>
                <a:gd name="connsiteY4" fmla="*/ 721177 h 721177"/>
                <a:gd name="connsiteX5" fmla="*/ 957823 w 978684"/>
                <a:gd name="connsiteY5" fmla="*/ 637566 h 721177"/>
                <a:gd name="connsiteX6" fmla="*/ 975949 w 978684"/>
                <a:gd name="connsiteY6" fmla="*/ 482634 h 721177"/>
                <a:gd name="connsiteX7" fmla="*/ 942273 w 978684"/>
                <a:gd name="connsiteY7" fmla="*/ 385103 h 721177"/>
                <a:gd name="connsiteX8" fmla="*/ 828885 w 978684"/>
                <a:gd name="connsiteY8" fmla="*/ 314309 h 721177"/>
                <a:gd name="connsiteX9" fmla="*/ 818786 w 978684"/>
                <a:gd name="connsiteY9" fmla="*/ 162828 h 721177"/>
                <a:gd name="connsiteX10" fmla="*/ 644291 w 978684"/>
                <a:gd name="connsiteY10" fmla="*/ 142006 h 721177"/>
                <a:gd name="connsiteX11" fmla="*/ 403506 w 978684"/>
                <a:gd name="connsiteY11" fmla="*/ 9 h 721177"/>
                <a:gd name="connsiteX12" fmla="*/ 212330 w 978684"/>
                <a:gd name="connsiteY12" fmla="*/ 86907 h 721177"/>
                <a:gd name="connsiteX13" fmla="*/ 137859 w 978684"/>
                <a:gd name="connsiteY13" fmla="*/ 278939 h 721177"/>
                <a:gd name="connsiteX14" fmla="*/ 40364 w 978684"/>
                <a:gd name="connsiteY14" fmla="*/ 369554 h 721177"/>
                <a:gd name="connsiteX15" fmla="*/ 34 w 978684"/>
                <a:gd name="connsiteY15" fmla="*/ 483056 h 721177"/>
                <a:gd name="connsiteX16" fmla="*/ 52255 w 978684"/>
                <a:gd name="connsiteY16" fmla="*/ 644884 h 721177"/>
                <a:gd name="connsiteX17" fmla="*/ 241308 w 978684"/>
                <a:gd name="connsiteY17" fmla="*/ 719773 h 721177"/>
                <a:gd name="connsiteX0" fmla="*/ 241308 w 978684"/>
                <a:gd name="connsiteY0" fmla="*/ 719773 h 722785"/>
                <a:gd name="connsiteX1" fmla="*/ 418492 w 978684"/>
                <a:gd name="connsiteY1" fmla="*/ 717491 h 722785"/>
                <a:gd name="connsiteX2" fmla="*/ 538526 w 978684"/>
                <a:gd name="connsiteY2" fmla="*/ 722785 h 722785"/>
                <a:gd name="connsiteX3" fmla="*/ 697045 w 978684"/>
                <a:gd name="connsiteY3" fmla="*/ 715382 h 722785"/>
                <a:gd name="connsiteX4" fmla="*/ 836248 w 978684"/>
                <a:gd name="connsiteY4" fmla="*/ 721177 h 722785"/>
                <a:gd name="connsiteX5" fmla="*/ 957823 w 978684"/>
                <a:gd name="connsiteY5" fmla="*/ 637566 h 722785"/>
                <a:gd name="connsiteX6" fmla="*/ 975949 w 978684"/>
                <a:gd name="connsiteY6" fmla="*/ 482634 h 722785"/>
                <a:gd name="connsiteX7" fmla="*/ 942273 w 978684"/>
                <a:gd name="connsiteY7" fmla="*/ 385103 h 722785"/>
                <a:gd name="connsiteX8" fmla="*/ 828885 w 978684"/>
                <a:gd name="connsiteY8" fmla="*/ 314309 h 722785"/>
                <a:gd name="connsiteX9" fmla="*/ 818786 w 978684"/>
                <a:gd name="connsiteY9" fmla="*/ 162828 h 722785"/>
                <a:gd name="connsiteX10" fmla="*/ 644291 w 978684"/>
                <a:gd name="connsiteY10" fmla="*/ 142006 h 722785"/>
                <a:gd name="connsiteX11" fmla="*/ 403506 w 978684"/>
                <a:gd name="connsiteY11" fmla="*/ 9 h 722785"/>
                <a:gd name="connsiteX12" fmla="*/ 212330 w 978684"/>
                <a:gd name="connsiteY12" fmla="*/ 86907 h 722785"/>
                <a:gd name="connsiteX13" fmla="*/ 137859 w 978684"/>
                <a:gd name="connsiteY13" fmla="*/ 278939 h 722785"/>
                <a:gd name="connsiteX14" fmla="*/ 40364 w 978684"/>
                <a:gd name="connsiteY14" fmla="*/ 369554 h 722785"/>
                <a:gd name="connsiteX15" fmla="*/ 34 w 978684"/>
                <a:gd name="connsiteY15" fmla="*/ 483056 h 722785"/>
                <a:gd name="connsiteX16" fmla="*/ 52255 w 978684"/>
                <a:gd name="connsiteY16" fmla="*/ 644884 h 722785"/>
                <a:gd name="connsiteX17" fmla="*/ 241308 w 978684"/>
                <a:gd name="connsiteY17" fmla="*/ 719773 h 722785"/>
                <a:gd name="connsiteX0" fmla="*/ 241308 w 978684"/>
                <a:gd name="connsiteY0" fmla="*/ 719773 h 722785"/>
                <a:gd name="connsiteX1" fmla="*/ 361719 w 978684"/>
                <a:gd name="connsiteY1" fmla="*/ 720985 h 722785"/>
                <a:gd name="connsiteX2" fmla="*/ 538526 w 978684"/>
                <a:gd name="connsiteY2" fmla="*/ 722785 h 722785"/>
                <a:gd name="connsiteX3" fmla="*/ 697045 w 978684"/>
                <a:gd name="connsiteY3" fmla="*/ 715382 h 722785"/>
                <a:gd name="connsiteX4" fmla="*/ 836248 w 978684"/>
                <a:gd name="connsiteY4" fmla="*/ 721177 h 722785"/>
                <a:gd name="connsiteX5" fmla="*/ 957823 w 978684"/>
                <a:gd name="connsiteY5" fmla="*/ 637566 h 722785"/>
                <a:gd name="connsiteX6" fmla="*/ 975949 w 978684"/>
                <a:gd name="connsiteY6" fmla="*/ 482634 h 722785"/>
                <a:gd name="connsiteX7" fmla="*/ 942273 w 978684"/>
                <a:gd name="connsiteY7" fmla="*/ 385103 h 722785"/>
                <a:gd name="connsiteX8" fmla="*/ 828885 w 978684"/>
                <a:gd name="connsiteY8" fmla="*/ 314309 h 722785"/>
                <a:gd name="connsiteX9" fmla="*/ 818786 w 978684"/>
                <a:gd name="connsiteY9" fmla="*/ 162828 h 722785"/>
                <a:gd name="connsiteX10" fmla="*/ 644291 w 978684"/>
                <a:gd name="connsiteY10" fmla="*/ 142006 h 722785"/>
                <a:gd name="connsiteX11" fmla="*/ 403506 w 978684"/>
                <a:gd name="connsiteY11" fmla="*/ 9 h 722785"/>
                <a:gd name="connsiteX12" fmla="*/ 212330 w 978684"/>
                <a:gd name="connsiteY12" fmla="*/ 86907 h 722785"/>
                <a:gd name="connsiteX13" fmla="*/ 137859 w 978684"/>
                <a:gd name="connsiteY13" fmla="*/ 278939 h 722785"/>
                <a:gd name="connsiteX14" fmla="*/ 40364 w 978684"/>
                <a:gd name="connsiteY14" fmla="*/ 369554 h 722785"/>
                <a:gd name="connsiteX15" fmla="*/ 34 w 978684"/>
                <a:gd name="connsiteY15" fmla="*/ 483056 h 722785"/>
                <a:gd name="connsiteX16" fmla="*/ 52255 w 978684"/>
                <a:gd name="connsiteY16" fmla="*/ 644884 h 722785"/>
                <a:gd name="connsiteX17" fmla="*/ 241308 w 978684"/>
                <a:gd name="connsiteY17" fmla="*/ 719773 h 722785"/>
                <a:gd name="connsiteX0" fmla="*/ 241308 w 978684"/>
                <a:gd name="connsiteY0" fmla="*/ 719773 h 722785"/>
                <a:gd name="connsiteX1" fmla="*/ 361719 w 978684"/>
                <a:gd name="connsiteY1" fmla="*/ 720985 h 722785"/>
                <a:gd name="connsiteX2" fmla="*/ 538526 w 978684"/>
                <a:gd name="connsiteY2" fmla="*/ 722785 h 722785"/>
                <a:gd name="connsiteX3" fmla="*/ 717134 w 978684"/>
                <a:gd name="connsiteY3" fmla="*/ 719749 h 722785"/>
                <a:gd name="connsiteX4" fmla="*/ 836248 w 978684"/>
                <a:gd name="connsiteY4" fmla="*/ 721177 h 722785"/>
                <a:gd name="connsiteX5" fmla="*/ 957823 w 978684"/>
                <a:gd name="connsiteY5" fmla="*/ 637566 h 722785"/>
                <a:gd name="connsiteX6" fmla="*/ 975949 w 978684"/>
                <a:gd name="connsiteY6" fmla="*/ 482634 h 722785"/>
                <a:gd name="connsiteX7" fmla="*/ 942273 w 978684"/>
                <a:gd name="connsiteY7" fmla="*/ 385103 h 722785"/>
                <a:gd name="connsiteX8" fmla="*/ 828885 w 978684"/>
                <a:gd name="connsiteY8" fmla="*/ 314309 h 722785"/>
                <a:gd name="connsiteX9" fmla="*/ 818786 w 978684"/>
                <a:gd name="connsiteY9" fmla="*/ 162828 h 722785"/>
                <a:gd name="connsiteX10" fmla="*/ 644291 w 978684"/>
                <a:gd name="connsiteY10" fmla="*/ 142006 h 722785"/>
                <a:gd name="connsiteX11" fmla="*/ 403506 w 978684"/>
                <a:gd name="connsiteY11" fmla="*/ 9 h 722785"/>
                <a:gd name="connsiteX12" fmla="*/ 212330 w 978684"/>
                <a:gd name="connsiteY12" fmla="*/ 86907 h 722785"/>
                <a:gd name="connsiteX13" fmla="*/ 137859 w 978684"/>
                <a:gd name="connsiteY13" fmla="*/ 278939 h 722785"/>
                <a:gd name="connsiteX14" fmla="*/ 40364 w 978684"/>
                <a:gd name="connsiteY14" fmla="*/ 369554 h 722785"/>
                <a:gd name="connsiteX15" fmla="*/ 34 w 978684"/>
                <a:gd name="connsiteY15" fmla="*/ 483056 h 722785"/>
                <a:gd name="connsiteX16" fmla="*/ 52255 w 978684"/>
                <a:gd name="connsiteY16" fmla="*/ 644884 h 722785"/>
                <a:gd name="connsiteX17" fmla="*/ 241308 w 978684"/>
                <a:gd name="connsiteY17" fmla="*/ 719773 h 722785"/>
                <a:gd name="connsiteX0" fmla="*/ 241308 w 978684"/>
                <a:gd name="connsiteY0" fmla="*/ 719773 h 721177"/>
                <a:gd name="connsiteX1" fmla="*/ 361719 w 978684"/>
                <a:gd name="connsiteY1" fmla="*/ 720985 h 721177"/>
                <a:gd name="connsiteX2" fmla="*/ 539400 w 978684"/>
                <a:gd name="connsiteY2" fmla="*/ 706190 h 721177"/>
                <a:gd name="connsiteX3" fmla="*/ 717134 w 978684"/>
                <a:gd name="connsiteY3" fmla="*/ 719749 h 721177"/>
                <a:gd name="connsiteX4" fmla="*/ 836248 w 978684"/>
                <a:gd name="connsiteY4" fmla="*/ 721177 h 721177"/>
                <a:gd name="connsiteX5" fmla="*/ 957823 w 978684"/>
                <a:gd name="connsiteY5" fmla="*/ 637566 h 721177"/>
                <a:gd name="connsiteX6" fmla="*/ 975949 w 978684"/>
                <a:gd name="connsiteY6" fmla="*/ 482634 h 721177"/>
                <a:gd name="connsiteX7" fmla="*/ 942273 w 978684"/>
                <a:gd name="connsiteY7" fmla="*/ 385103 h 721177"/>
                <a:gd name="connsiteX8" fmla="*/ 828885 w 978684"/>
                <a:gd name="connsiteY8" fmla="*/ 314309 h 721177"/>
                <a:gd name="connsiteX9" fmla="*/ 818786 w 978684"/>
                <a:gd name="connsiteY9" fmla="*/ 162828 h 721177"/>
                <a:gd name="connsiteX10" fmla="*/ 644291 w 978684"/>
                <a:gd name="connsiteY10" fmla="*/ 142006 h 721177"/>
                <a:gd name="connsiteX11" fmla="*/ 403506 w 978684"/>
                <a:gd name="connsiteY11" fmla="*/ 9 h 721177"/>
                <a:gd name="connsiteX12" fmla="*/ 212330 w 978684"/>
                <a:gd name="connsiteY12" fmla="*/ 86907 h 721177"/>
                <a:gd name="connsiteX13" fmla="*/ 137859 w 978684"/>
                <a:gd name="connsiteY13" fmla="*/ 278939 h 721177"/>
                <a:gd name="connsiteX14" fmla="*/ 40364 w 978684"/>
                <a:gd name="connsiteY14" fmla="*/ 369554 h 721177"/>
                <a:gd name="connsiteX15" fmla="*/ 34 w 978684"/>
                <a:gd name="connsiteY15" fmla="*/ 483056 h 721177"/>
                <a:gd name="connsiteX16" fmla="*/ 52255 w 978684"/>
                <a:gd name="connsiteY16" fmla="*/ 644884 h 721177"/>
                <a:gd name="connsiteX17" fmla="*/ 241308 w 978684"/>
                <a:gd name="connsiteY17" fmla="*/ 719773 h 721177"/>
                <a:gd name="connsiteX0" fmla="*/ 241308 w 978684"/>
                <a:gd name="connsiteY0" fmla="*/ 719773 h 721912"/>
                <a:gd name="connsiteX1" fmla="*/ 361719 w 978684"/>
                <a:gd name="connsiteY1" fmla="*/ 720985 h 721912"/>
                <a:gd name="connsiteX2" fmla="*/ 538527 w 978684"/>
                <a:gd name="connsiteY2" fmla="*/ 721912 h 721912"/>
                <a:gd name="connsiteX3" fmla="*/ 717134 w 978684"/>
                <a:gd name="connsiteY3" fmla="*/ 719749 h 721912"/>
                <a:gd name="connsiteX4" fmla="*/ 836248 w 978684"/>
                <a:gd name="connsiteY4" fmla="*/ 721177 h 721912"/>
                <a:gd name="connsiteX5" fmla="*/ 957823 w 978684"/>
                <a:gd name="connsiteY5" fmla="*/ 637566 h 721912"/>
                <a:gd name="connsiteX6" fmla="*/ 975949 w 978684"/>
                <a:gd name="connsiteY6" fmla="*/ 482634 h 721912"/>
                <a:gd name="connsiteX7" fmla="*/ 942273 w 978684"/>
                <a:gd name="connsiteY7" fmla="*/ 385103 h 721912"/>
                <a:gd name="connsiteX8" fmla="*/ 828885 w 978684"/>
                <a:gd name="connsiteY8" fmla="*/ 314309 h 721912"/>
                <a:gd name="connsiteX9" fmla="*/ 818786 w 978684"/>
                <a:gd name="connsiteY9" fmla="*/ 162828 h 721912"/>
                <a:gd name="connsiteX10" fmla="*/ 644291 w 978684"/>
                <a:gd name="connsiteY10" fmla="*/ 142006 h 721912"/>
                <a:gd name="connsiteX11" fmla="*/ 403506 w 978684"/>
                <a:gd name="connsiteY11" fmla="*/ 9 h 721912"/>
                <a:gd name="connsiteX12" fmla="*/ 212330 w 978684"/>
                <a:gd name="connsiteY12" fmla="*/ 86907 h 721912"/>
                <a:gd name="connsiteX13" fmla="*/ 137859 w 978684"/>
                <a:gd name="connsiteY13" fmla="*/ 278939 h 721912"/>
                <a:gd name="connsiteX14" fmla="*/ 40364 w 978684"/>
                <a:gd name="connsiteY14" fmla="*/ 369554 h 721912"/>
                <a:gd name="connsiteX15" fmla="*/ 34 w 978684"/>
                <a:gd name="connsiteY15" fmla="*/ 483056 h 721912"/>
                <a:gd name="connsiteX16" fmla="*/ 52255 w 978684"/>
                <a:gd name="connsiteY16" fmla="*/ 644884 h 721912"/>
                <a:gd name="connsiteX17" fmla="*/ 241308 w 978684"/>
                <a:gd name="connsiteY17" fmla="*/ 719773 h 721912"/>
                <a:gd name="connsiteX0" fmla="*/ 241308 w 978684"/>
                <a:gd name="connsiteY0" fmla="*/ 719773 h 721177"/>
                <a:gd name="connsiteX1" fmla="*/ 361719 w 978684"/>
                <a:gd name="connsiteY1" fmla="*/ 720985 h 721177"/>
                <a:gd name="connsiteX2" fmla="*/ 538527 w 978684"/>
                <a:gd name="connsiteY2" fmla="*/ 714051 h 721177"/>
                <a:gd name="connsiteX3" fmla="*/ 717134 w 978684"/>
                <a:gd name="connsiteY3" fmla="*/ 719749 h 721177"/>
                <a:gd name="connsiteX4" fmla="*/ 836248 w 978684"/>
                <a:gd name="connsiteY4" fmla="*/ 721177 h 721177"/>
                <a:gd name="connsiteX5" fmla="*/ 957823 w 978684"/>
                <a:gd name="connsiteY5" fmla="*/ 637566 h 721177"/>
                <a:gd name="connsiteX6" fmla="*/ 975949 w 978684"/>
                <a:gd name="connsiteY6" fmla="*/ 482634 h 721177"/>
                <a:gd name="connsiteX7" fmla="*/ 942273 w 978684"/>
                <a:gd name="connsiteY7" fmla="*/ 385103 h 721177"/>
                <a:gd name="connsiteX8" fmla="*/ 828885 w 978684"/>
                <a:gd name="connsiteY8" fmla="*/ 314309 h 721177"/>
                <a:gd name="connsiteX9" fmla="*/ 818786 w 978684"/>
                <a:gd name="connsiteY9" fmla="*/ 162828 h 721177"/>
                <a:gd name="connsiteX10" fmla="*/ 644291 w 978684"/>
                <a:gd name="connsiteY10" fmla="*/ 142006 h 721177"/>
                <a:gd name="connsiteX11" fmla="*/ 403506 w 978684"/>
                <a:gd name="connsiteY11" fmla="*/ 9 h 721177"/>
                <a:gd name="connsiteX12" fmla="*/ 212330 w 978684"/>
                <a:gd name="connsiteY12" fmla="*/ 86907 h 721177"/>
                <a:gd name="connsiteX13" fmla="*/ 137859 w 978684"/>
                <a:gd name="connsiteY13" fmla="*/ 278939 h 721177"/>
                <a:gd name="connsiteX14" fmla="*/ 40364 w 978684"/>
                <a:gd name="connsiteY14" fmla="*/ 369554 h 721177"/>
                <a:gd name="connsiteX15" fmla="*/ 34 w 978684"/>
                <a:gd name="connsiteY15" fmla="*/ 483056 h 721177"/>
                <a:gd name="connsiteX16" fmla="*/ 52255 w 978684"/>
                <a:gd name="connsiteY16" fmla="*/ 644884 h 721177"/>
                <a:gd name="connsiteX17" fmla="*/ 241308 w 978684"/>
                <a:gd name="connsiteY17" fmla="*/ 719773 h 721177"/>
                <a:gd name="connsiteX0" fmla="*/ 241308 w 978684"/>
                <a:gd name="connsiteY0" fmla="*/ 719773 h 721177"/>
                <a:gd name="connsiteX1" fmla="*/ 361719 w 978684"/>
                <a:gd name="connsiteY1" fmla="*/ 720985 h 721177"/>
                <a:gd name="connsiteX2" fmla="*/ 537654 w 978684"/>
                <a:gd name="connsiteY2" fmla="*/ 721038 h 721177"/>
                <a:gd name="connsiteX3" fmla="*/ 717134 w 978684"/>
                <a:gd name="connsiteY3" fmla="*/ 719749 h 721177"/>
                <a:gd name="connsiteX4" fmla="*/ 836248 w 978684"/>
                <a:gd name="connsiteY4" fmla="*/ 721177 h 721177"/>
                <a:gd name="connsiteX5" fmla="*/ 957823 w 978684"/>
                <a:gd name="connsiteY5" fmla="*/ 637566 h 721177"/>
                <a:gd name="connsiteX6" fmla="*/ 975949 w 978684"/>
                <a:gd name="connsiteY6" fmla="*/ 482634 h 721177"/>
                <a:gd name="connsiteX7" fmla="*/ 942273 w 978684"/>
                <a:gd name="connsiteY7" fmla="*/ 385103 h 721177"/>
                <a:gd name="connsiteX8" fmla="*/ 828885 w 978684"/>
                <a:gd name="connsiteY8" fmla="*/ 314309 h 721177"/>
                <a:gd name="connsiteX9" fmla="*/ 818786 w 978684"/>
                <a:gd name="connsiteY9" fmla="*/ 162828 h 721177"/>
                <a:gd name="connsiteX10" fmla="*/ 644291 w 978684"/>
                <a:gd name="connsiteY10" fmla="*/ 142006 h 721177"/>
                <a:gd name="connsiteX11" fmla="*/ 403506 w 978684"/>
                <a:gd name="connsiteY11" fmla="*/ 9 h 721177"/>
                <a:gd name="connsiteX12" fmla="*/ 212330 w 978684"/>
                <a:gd name="connsiteY12" fmla="*/ 86907 h 721177"/>
                <a:gd name="connsiteX13" fmla="*/ 137859 w 978684"/>
                <a:gd name="connsiteY13" fmla="*/ 278939 h 721177"/>
                <a:gd name="connsiteX14" fmla="*/ 40364 w 978684"/>
                <a:gd name="connsiteY14" fmla="*/ 369554 h 721177"/>
                <a:gd name="connsiteX15" fmla="*/ 34 w 978684"/>
                <a:gd name="connsiteY15" fmla="*/ 483056 h 721177"/>
                <a:gd name="connsiteX16" fmla="*/ 52255 w 978684"/>
                <a:gd name="connsiteY16" fmla="*/ 644884 h 721177"/>
                <a:gd name="connsiteX17" fmla="*/ 241308 w 978684"/>
                <a:gd name="connsiteY17" fmla="*/ 719773 h 721177"/>
                <a:gd name="connsiteX0" fmla="*/ 241308 w 978684"/>
                <a:gd name="connsiteY0" fmla="*/ 719773 h 760800"/>
                <a:gd name="connsiteX1" fmla="*/ 361719 w 978684"/>
                <a:gd name="connsiteY1" fmla="*/ 720985 h 760800"/>
                <a:gd name="connsiteX2" fmla="*/ 537654 w 978684"/>
                <a:gd name="connsiteY2" fmla="*/ 721038 h 760800"/>
                <a:gd name="connsiteX3" fmla="*/ 714514 w 978684"/>
                <a:gd name="connsiteY3" fmla="*/ 760800 h 760800"/>
                <a:gd name="connsiteX4" fmla="*/ 836248 w 978684"/>
                <a:gd name="connsiteY4" fmla="*/ 721177 h 760800"/>
                <a:gd name="connsiteX5" fmla="*/ 957823 w 978684"/>
                <a:gd name="connsiteY5" fmla="*/ 637566 h 760800"/>
                <a:gd name="connsiteX6" fmla="*/ 975949 w 978684"/>
                <a:gd name="connsiteY6" fmla="*/ 482634 h 760800"/>
                <a:gd name="connsiteX7" fmla="*/ 942273 w 978684"/>
                <a:gd name="connsiteY7" fmla="*/ 385103 h 760800"/>
                <a:gd name="connsiteX8" fmla="*/ 828885 w 978684"/>
                <a:gd name="connsiteY8" fmla="*/ 314309 h 760800"/>
                <a:gd name="connsiteX9" fmla="*/ 818786 w 978684"/>
                <a:gd name="connsiteY9" fmla="*/ 162828 h 760800"/>
                <a:gd name="connsiteX10" fmla="*/ 644291 w 978684"/>
                <a:gd name="connsiteY10" fmla="*/ 142006 h 760800"/>
                <a:gd name="connsiteX11" fmla="*/ 403506 w 978684"/>
                <a:gd name="connsiteY11" fmla="*/ 9 h 760800"/>
                <a:gd name="connsiteX12" fmla="*/ 212330 w 978684"/>
                <a:gd name="connsiteY12" fmla="*/ 86907 h 760800"/>
                <a:gd name="connsiteX13" fmla="*/ 137859 w 978684"/>
                <a:gd name="connsiteY13" fmla="*/ 278939 h 760800"/>
                <a:gd name="connsiteX14" fmla="*/ 40364 w 978684"/>
                <a:gd name="connsiteY14" fmla="*/ 369554 h 760800"/>
                <a:gd name="connsiteX15" fmla="*/ 34 w 978684"/>
                <a:gd name="connsiteY15" fmla="*/ 483056 h 760800"/>
                <a:gd name="connsiteX16" fmla="*/ 52255 w 978684"/>
                <a:gd name="connsiteY16" fmla="*/ 644884 h 760800"/>
                <a:gd name="connsiteX17" fmla="*/ 241308 w 978684"/>
                <a:gd name="connsiteY17" fmla="*/ 719773 h 760800"/>
                <a:gd name="connsiteX0" fmla="*/ 241308 w 978684"/>
                <a:gd name="connsiteY0" fmla="*/ 719773 h 721177"/>
                <a:gd name="connsiteX1" fmla="*/ 361719 w 978684"/>
                <a:gd name="connsiteY1" fmla="*/ 720985 h 721177"/>
                <a:gd name="connsiteX2" fmla="*/ 537654 w 978684"/>
                <a:gd name="connsiteY2" fmla="*/ 721038 h 721177"/>
                <a:gd name="connsiteX3" fmla="*/ 717134 w 978684"/>
                <a:gd name="connsiteY3" fmla="*/ 720622 h 721177"/>
                <a:gd name="connsiteX4" fmla="*/ 836248 w 978684"/>
                <a:gd name="connsiteY4" fmla="*/ 721177 h 721177"/>
                <a:gd name="connsiteX5" fmla="*/ 957823 w 978684"/>
                <a:gd name="connsiteY5" fmla="*/ 637566 h 721177"/>
                <a:gd name="connsiteX6" fmla="*/ 975949 w 978684"/>
                <a:gd name="connsiteY6" fmla="*/ 482634 h 721177"/>
                <a:gd name="connsiteX7" fmla="*/ 942273 w 978684"/>
                <a:gd name="connsiteY7" fmla="*/ 385103 h 721177"/>
                <a:gd name="connsiteX8" fmla="*/ 828885 w 978684"/>
                <a:gd name="connsiteY8" fmla="*/ 314309 h 721177"/>
                <a:gd name="connsiteX9" fmla="*/ 818786 w 978684"/>
                <a:gd name="connsiteY9" fmla="*/ 162828 h 721177"/>
                <a:gd name="connsiteX10" fmla="*/ 644291 w 978684"/>
                <a:gd name="connsiteY10" fmla="*/ 142006 h 721177"/>
                <a:gd name="connsiteX11" fmla="*/ 403506 w 978684"/>
                <a:gd name="connsiteY11" fmla="*/ 9 h 721177"/>
                <a:gd name="connsiteX12" fmla="*/ 212330 w 978684"/>
                <a:gd name="connsiteY12" fmla="*/ 86907 h 721177"/>
                <a:gd name="connsiteX13" fmla="*/ 137859 w 978684"/>
                <a:gd name="connsiteY13" fmla="*/ 278939 h 721177"/>
                <a:gd name="connsiteX14" fmla="*/ 40364 w 978684"/>
                <a:gd name="connsiteY14" fmla="*/ 369554 h 721177"/>
                <a:gd name="connsiteX15" fmla="*/ 34 w 978684"/>
                <a:gd name="connsiteY15" fmla="*/ 483056 h 721177"/>
                <a:gd name="connsiteX16" fmla="*/ 52255 w 978684"/>
                <a:gd name="connsiteY16" fmla="*/ 644884 h 721177"/>
                <a:gd name="connsiteX17" fmla="*/ 241308 w 978684"/>
                <a:gd name="connsiteY17" fmla="*/ 719773 h 721177"/>
                <a:gd name="connsiteX0" fmla="*/ 241308 w 1046736"/>
                <a:gd name="connsiteY0" fmla="*/ 719773 h 721177"/>
                <a:gd name="connsiteX1" fmla="*/ 361719 w 1046736"/>
                <a:gd name="connsiteY1" fmla="*/ 720985 h 721177"/>
                <a:gd name="connsiteX2" fmla="*/ 537654 w 1046736"/>
                <a:gd name="connsiteY2" fmla="*/ 721038 h 721177"/>
                <a:gd name="connsiteX3" fmla="*/ 717134 w 1046736"/>
                <a:gd name="connsiteY3" fmla="*/ 720622 h 721177"/>
                <a:gd name="connsiteX4" fmla="*/ 836248 w 1046736"/>
                <a:gd name="connsiteY4" fmla="*/ 721177 h 721177"/>
                <a:gd name="connsiteX5" fmla="*/ 957823 w 1046736"/>
                <a:gd name="connsiteY5" fmla="*/ 637566 h 721177"/>
                <a:gd name="connsiteX6" fmla="*/ 1046697 w 1046736"/>
                <a:gd name="connsiteY6" fmla="*/ 514077 h 721177"/>
                <a:gd name="connsiteX7" fmla="*/ 942273 w 1046736"/>
                <a:gd name="connsiteY7" fmla="*/ 385103 h 721177"/>
                <a:gd name="connsiteX8" fmla="*/ 828885 w 1046736"/>
                <a:gd name="connsiteY8" fmla="*/ 314309 h 721177"/>
                <a:gd name="connsiteX9" fmla="*/ 818786 w 1046736"/>
                <a:gd name="connsiteY9" fmla="*/ 162828 h 721177"/>
                <a:gd name="connsiteX10" fmla="*/ 644291 w 1046736"/>
                <a:gd name="connsiteY10" fmla="*/ 142006 h 721177"/>
                <a:gd name="connsiteX11" fmla="*/ 403506 w 1046736"/>
                <a:gd name="connsiteY11" fmla="*/ 9 h 721177"/>
                <a:gd name="connsiteX12" fmla="*/ 212330 w 1046736"/>
                <a:gd name="connsiteY12" fmla="*/ 86907 h 721177"/>
                <a:gd name="connsiteX13" fmla="*/ 137859 w 1046736"/>
                <a:gd name="connsiteY13" fmla="*/ 278939 h 721177"/>
                <a:gd name="connsiteX14" fmla="*/ 40364 w 1046736"/>
                <a:gd name="connsiteY14" fmla="*/ 369554 h 721177"/>
                <a:gd name="connsiteX15" fmla="*/ 34 w 1046736"/>
                <a:gd name="connsiteY15" fmla="*/ 483056 h 721177"/>
                <a:gd name="connsiteX16" fmla="*/ 52255 w 1046736"/>
                <a:gd name="connsiteY16" fmla="*/ 644884 h 721177"/>
                <a:gd name="connsiteX17" fmla="*/ 241308 w 1046736"/>
                <a:gd name="connsiteY17" fmla="*/ 719773 h 721177"/>
                <a:gd name="connsiteX0" fmla="*/ 241308 w 1046702"/>
                <a:gd name="connsiteY0" fmla="*/ 719773 h 721177"/>
                <a:gd name="connsiteX1" fmla="*/ 361719 w 1046702"/>
                <a:gd name="connsiteY1" fmla="*/ 720985 h 721177"/>
                <a:gd name="connsiteX2" fmla="*/ 537654 w 1046702"/>
                <a:gd name="connsiteY2" fmla="*/ 721038 h 721177"/>
                <a:gd name="connsiteX3" fmla="*/ 717134 w 1046702"/>
                <a:gd name="connsiteY3" fmla="*/ 720622 h 721177"/>
                <a:gd name="connsiteX4" fmla="*/ 836248 w 1046702"/>
                <a:gd name="connsiteY4" fmla="*/ 721177 h 721177"/>
                <a:gd name="connsiteX5" fmla="*/ 957823 w 1046702"/>
                <a:gd name="connsiteY5" fmla="*/ 637566 h 721177"/>
                <a:gd name="connsiteX6" fmla="*/ 1046697 w 1046702"/>
                <a:gd name="connsiteY6" fmla="*/ 514077 h 721177"/>
                <a:gd name="connsiteX7" fmla="*/ 942273 w 1046702"/>
                <a:gd name="connsiteY7" fmla="*/ 385103 h 721177"/>
                <a:gd name="connsiteX8" fmla="*/ 828885 w 1046702"/>
                <a:gd name="connsiteY8" fmla="*/ 314309 h 721177"/>
                <a:gd name="connsiteX9" fmla="*/ 818786 w 1046702"/>
                <a:gd name="connsiteY9" fmla="*/ 162828 h 721177"/>
                <a:gd name="connsiteX10" fmla="*/ 644291 w 1046702"/>
                <a:gd name="connsiteY10" fmla="*/ 142006 h 721177"/>
                <a:gd name="connsiteX11" fmla="*/ 403506 w 1046702"/>
                <a:gd name="connsiteY11" fmla="*/ 9 h 721177"/>
                <a:gd name="connsiteX12" fmla="*/ 212330 w 1046702"/>
                <a:gd name="connsiteY12" fmla="*/ 86907 h 721177"/>
                <a:gd name="connsiteX13" fmla="*/ 137859 w 1046702"/>
                <a:gd name="connsiteY13" fmla="*/ 278939 h 721177"/>
                <a:gd name="connsiteX14" fmla="*/ 40364 w 1046702"/>
                <a:gd name="connsiteY14" fmla="*/ 369554 h 721177"/>
                <a:gd name="connsiteX15" fmla="*/ 34 w 1046702"/>
                <a:gd name="connsiteY15" fmla="*/ 483056 h 721177"/>
                <a:gd name="connsiteX16" fmla="*/ 52255 w 1046702"/>
                <a:gd name="connsiteY16" fmla="*/ 644884 h 721177"/>
                <a:gd name="connsiteX17" fmla="*/ 241308 w 1046702"/>
                <a:gd name="connsiteY17" fmla="*/ 719773 h 721177"/>
                <a:gd name="connsiteX0" fmla="*/ 241308 w 1048298"/>
                <a:gd name="connsiteY0" fmla="*/ 719773 h 721177"/>
                <a:gd name="connsiteX1" fmla="*/ 361719 w 1048298"/>
                <a:gd name="connsiteY1" fmla="*/ 720985 h 721177"/>
                <a:gd name="connsiteX2" fmla="*/ 537654 w 1048298"/>
                <a:gd name="connsiteY2" fmla="*/ 721038 h 721177"/>
                <a:gd name="connsiteX3" fmla="*/ 717134 w 1048298"/>
                <a:gd name="connsiteY3" fmla="*/ 720622 h 721177"/>
                <a:gd name="connsiteX4" fmla="*/ 836248 w 1048298"/>
                <a:gd name="connsiteY4" fmla="*/ 721177 h 721177"/>
                <a:gd name="connsiteX5" fmla="*/ 996254 w 1048298"/>
                <a:gd name="connsiteY5" fmla="*/ 643680 h 721177"/>
                <a:gd name="connsiteX6" fmla="*/ 1046697 w 1048298"/>
                <a:gd name="connsiteY6" fmla="*/ 514077 h 721177"/>
                <a:gd name="connsiteX7" fmla="*/ 942273 w 1048298"/>
                <a:gd name="connsiteY7" fmla="*/ 385103 h 721177"/>
                <a:gd name="connsiteX8" fmla="*/ 828885 w 1048298"/>
                <a:gd name="connsiteY8" fmla="*/ 314309 h 721177"/>
                <a:gd name="connsiteX9" fmla="*/ 818786 w 1048298"/>
                <a:gd name="connsiteY9" fmla="*/ 162828 h 721177"/>
                <a:gd name="connsiteX10" fmla="*/ 644291 w 1048298"/>
                <a:gd name="connsiteY10" fmla="*/ 142006 h 721177"/>
                <a:gd name="connsiteX11" fmla="*/ 403506 w 1048298"/>
                <a:gd name="connsiteY11" fmla="*/ 9 h 721177"/>
                <a:gd name="connsiteX12" fmla="*/ 212330 w 1048298"/>
                <a:gd name="connsiteY12" fmla="*/ 86907 h 721177"/>
                <a:gd name="connsiteX13" fmla="*/ 137859 w 1048298"/>
                <a:gd name="connsiteY13" fmla="*/ 278939 h 721177"/>
                <a:gd name="connsiteX14" fmla="*/ 40364 w 1048298"/>
                <a:gd name="connsiteY14" fmla="*/ 369554 h 721177"/>
                <a:gd name="connsiteX15" fmla="*/ 34 w 1048298"/>
                <a:gd name="connsiteY15" fmla="*/ 483056 h 721177"/>
                <a:gd name="connsiteX16" fmla="*/ 52255 w 1048298"/>
                <a:gd name="connsiteY16" fmla="*/ 644884 h 721177"/>
                <a:gd name="connsiteX17" fmla="*/ 241308 w 1048298"/>
                <a:gd name="connsiteY17" fmla="*/ 719773 h 721177"/>
                <a:gd name="connsiteX0" fmla="*/ 241308 w 1048298"/>
                <a:gd name="connsiteY0" fmla="*/ 719773 h 721177"/>
                <a:gd name="connsiteX1" fmla="*/ 361719 w 1048298"/>
                <a:gd name="connsiteY1" fmla="*/ 720985 h 721177"/>
                <a:gd name="connsiteX2" fmla="*/ 537654 w 1048298"/>
                <a:gd name="connsiteY2" fmla="*/ 721038 h 721177"/>
                <a:gd name="connsiteX3" fmla="*/ 717134 w 1048298"/>
                <a:gd name="connsiteY3" fmla="*/ 720622 h 721177"/>
                <a:gd name="connsiteX4" fmla="*/ 836248 w 1048298"/>
                <a:gd name="connsiteY4" fmla="*/ 721177 h 721177"/>
                <a:gd name="connsiteX5" fmla="*/ 996254 w 1048298"/>
                <a:gd name="connsiteY5" fmla="*/ 643680 h 721177"/>
                <a:gd name="connsiteX6" fmla="*/ 1046697 w 1048298"/>
                <a:gd name="connsiteY6" fmla="*/ 514077 h 721177"/>
                <a:gd name="connsiteX7" fmla="*/ 942273 w 1048298"/>
                <a:gd name="connsiteY7" fmla="*/ 385103 h 721177"/>
                <a:gd name="connsiteX8" fmla="*/ 912734 w 1048298"/>
                <a:gd name="connsiteY8" fmla="*/ 316929 h 721177"/>
                <a:gd name="connsiteX9" fmla="*/ 818786 w 1048298"/>
                <a:gd name="connsiteY9" fmla="*/ 162828 h 721177"/>
                <a:gd name="connsiteX10" fmla="*/ 644291 w 1048298"/>
                <a:gd name="connsiteY10" fmla="*/ 142006 h 721177"/>
                <a:gd name="connsiteX11" fmla="*/ 403506 w 1048298"/>
                <a:gd name="connsiteY11" fmla="*/ 9 h 721177"/>
                <a:gd name="connsiteX12" fmla="*/ 212330 w 1048298"/>
                <a:gd name="connsiteY12" fmla="*/ 86907 h 721177"/>
                <a:gd name="connsiteX13" fmla="*/ 137859 w 1048298"/>
                <a:gd name="connsiteY13" fmla="*/ 278939 h 721177"/>
                <a:gd name="connsiteX14" fmla="*/ 40364 w 1048298"/>
                <a:gd name="connsiteY14" fmla="*/ 369554 h 721177"/>
                <a:gd name="connsiteX15" fmla="*/ 34 w 1048298"/>
                <a:gd name="connsiteY15" fmla="*/ 483056 h 721177"/>
                <a:gd name="connsiteX16" fmla="*/ 52255 w 1048298"/>
                <a:gd name="connsiteY16" fmla="*/ 644884 h 721177"/>
                <a:gd name="connsiteX17" fmla="*/ 241308 w 1048298"/>
                <a:gd name="connsiteY17" fmla="*/ 719773 h 721177"/>
                <a:gd name="connsiteX0" fmla="*/ 241308 w 1046698"/>
                <a:gd name="connsiteY0" fmla="*/ 719773 h 721177"/>
                <a:gd name="connsiteX1" fmla="*/ 361719 w 1046698"/>
                <a:gd name="connsiteY1" fmla="*/ 720985 h 721177"/>
                <a:gd name="connsiteX2" fmla="*/ 537654 w 1046698"/>
                <a:gd name="connsiteY2" fmla="*/ 721038 h 721177"/>
                <a:gd name="connsiteX3" fmla="*/ 717134 w 1046698"/>
                <a:gd name="connsiteY3" fmla="*/ 720622 h 721177"/>
                <a:gd name="connsiteX4" fmla="*/ 836248 w 1046698"/>
                <a:gd name="connsiteY4" fmla="*/ 721177 h 721177"/>
                <a:gd name="connsiteX5" fmla="*/ 996254 w 1046698"/>
                <a:gd name="connsiteY5" fmla="*/ 643680 h 721177"/>
                <a:gd name="connsiteX6" fmla="*/ 1046697 w 1046698"/>
                <a:gd name="connsiteY6" fmla="*/ 514077 h 721177"/>
                <a:gd name="connsiteX7" fmla="*/ 997299 w 1046698"/>
                <a:gd name="connsiteY7" fmla="*/ 377242 h 721177"/>
                <a:gd name="connsiteX8" fmla="*/ 912734 w 1046698"/>
                <a:gd name="connsiteY8" fmla="*/ 316929 h 721177"/>
                <a:gd name="connsiteX9" fmla="*/ 818786 w 1046698"/>
                <a:gd name="connsiteY9" fmla="*/ 162828 h 721177"/>
                <a:gd name="connsiteX10" fmla="*/ 644291 w 1046698"/>
                <a:gd name="connsiteY10" fmla="*/ 142006 h 721177"/>
                <a:gd name="connsiteX11" fmla="*/ 403506 w 1046698"/>
                <a:gd name="connsiteY11" fmla="*/ 9 h 721177"/>
                <a:gd name="connsiteX12" fmla="*/ 212330 w 1046698"/>
                <a:gd name="connsiteY12" fmla="*/ 86907 h 721177"/>
                <a:gd name="connsiteX13" fmla="*/ 137859 w 1046698"/>
                <a:gd name="connsiteY13" fmla="*/ 278939 h 721177"/>
                <a:gd name="connsiteX14" fmla="*/ 40364 w 1046698"/>
                <a:gd name="connsiteY14" fmla="*/ 369554 h 721177"/>
                <a:gd name="connsiteX15" fmla="*/ 34 w 1046698"/>
                <a:gd name="connsiteY15" fmla="*/ 483056 h 721177"/>
                <a:gd name="connsiteX16" fmla="*/ 52255 w 1046698"/>
                <a:gd name="connsiteY16" fmla="*/ 644884 h 721177"/>
                <a:gd name="connsiteX17" fmla="*/ 241308 w 1046698"/>
                <a:gd name="connsiteY17" fmla="*/ 719773 h 721177"/>
                <a:gd name="connsiteX0" fmla="*/ 241308 w 1046698"/>
                <a:gd name="connsiteY0" fmla="*/ 719773 h 721177"/>
                <a:gd name="connsiteX1" fmla="*/ 361719 w 1046698"/>
                <a:gd name="connsiteY1" fmla="*/ 720985 h 721177"/>
                <a:gd name="connsiteX2" fmla="*/ 537654 w 1046698"/>
                <a:gd name="connsiteY2" fmla="*/ 721038 h 721177"/>
                <a:gd name="connsiteX3" fmla="*/ 717134 w 1046698"/>
                <a:gd name="connsiteY3" fmla="*/ 720622 h 721177"/>
                <a:gd name="connsiteX4" fmla="*/ 836248 w 1046698"/>
                <a:gd name="connsiteY4" fmla="*/ 721177 h 721177"/>
                <a:gd name="connsiteX5" fmla="*/ 996254 w 1046698"/>
                <a:gd name="connsiteY5" fmla="*/ 643680 h 721177"/>
                <a:gd name="connsiteX6" fmla="*/ 1046697 w 1046698"/>
                <a:gd name="connsiteY6" fmla="*/ 514077 h 721177"/>
                <a:gd name="connsiteX7" fmla="*/ 997299 w 1046698"/>
                <a:gd name="connsiteY7" fmla="*/ 377242 h 721177"/>
                <a:gd name="connsiteX8" fmla="*/ 912734 w 1046698"/>
                <a:gd name="connsiteY8" fmla="*/ 316929 h 721177"/>
                <a:gd name="connsiteX9" fmla="*/ 818786 w 1046698"/>
                <a:gd name="connsiteY9" fmla="*/ 162828 h 721177"/>
                <a:gd name="connsiteX10" fmla="*/ 644291 w 1046698"/>
                <a:gd name="connsiteY10" fmla="*/ 142006 h 721177"/>
                <a:gd name="connsiteX11" fmla="*/ 403506 w 1046698"/>
                <a:gd name="connsiteY11" fmla="*/ 9 h 721177"/>
                <a:gd name="connsiteX12" fmla="*/ 212330 w 1046698"/>
                <a:gd name="connsiteY12" fmla="*/ 86907 h 721177"/>
                <a:gd name="connsiteX13" fmla="*/ 137859 w 1046698"/>
                <a:gd name="connsiteY13" fmla="*/ 278939 h 721177"/>
                <a:gd name="connsiteX14" fmla="*/ 40364 w 1046698"/>
                <a:gd name="connsiteY14" fmla="*/ 369554 h 721177"/>
                <a:gd name="connsiteX15" fmla="*/ 34 w 1046698"/>
                <a:gd name="connsiteY15" fmla="*/ 483056 h 721177"/>
                <a:gd name="connsiteX16" fmla="*/ 52255 w 1046698"/>
                <a:gd name="connsiteY16" fmla="*/ 644884 h 721177"/>
                <a:gd name="connsiteX17" fmla="*/ 241308 w 1046698"/>
                <a:gd name="connsiteY17" fmla="*/ 719773 h 721177"/>
                <a:gd name="connsiteX0" fmla="*/ 241308 w 1046697"/>
                <a:gd name="connsiteY0" fmla="*/ 719773 h 721177"/>
                <a:gd name="connsiteX1" fmla="*/ 361719 w 1046697"/>
                <a:gd name="connsiteY1" fmla="*/ 720985 h 721177"/>
                <a:gd name="connsiteX2" fmla="*/ 537654 w 1046697"/>
                <a:gd name="connsiteY2" fmla="*/ 721038 h 721177"/>
                <a:gd name="connsiteX3" fmla="*/ 717134 w 1046697"/>
                <a:gd name="connsiteY3" fmla="*/ 720622 h 721177"/>
                <a:gd name="connsiteX4" fmla="*/ 836248 w 1046697"/>
                <a:gd name="connsiteY4" fmla="*/ 721177 h 721177"/>
                <a:gd name="connsiteX5" fmla="*/ 996254 w 1046697"/>
                <a:gd name="connsiteY5" fmla="*/ 643680 h 721177"/>
                <a:gd name="connsiteX6" fmla="*/ 1046697 w 1046697"/>
                <a:gd name="connsiteY6" fmla="*/ 514077 h 721177"/>
                <a:gd name="connsiteX7" fmla="*/ 997299 w 1046697"/>
                <a:gd name="connsiteY7" fmla="*/ 377242 h 721177"/>
                <a:gd name="connsiteX8" fmla="*/ 912734 w 1046697"/>
                <a:gd name="connsiteY8" fmla="*/ 316929 h 721177"/>
                <a:gd name="connsiteX9" fmla="*/ 818786 w 1046697"/>
                <a:gd name="connsiteY9" fmla="*/ 162828 h 721177"/>
                <a:gd name="connsiteX10" fmla="*/ 644291 w 1046697"/>
                <a:gd name="connsiteY10" fmla="*/ 142006 h 721177"/>
                <a:gd name="connsiteX11" fmla="*/ 403506 w 1046697"/>
                <a:gd name="connsiteY11" fmla="*/ 9 h 721177"/>
                <a:gd name="connsiteX12" fmla="*/ 212330 w 1046697"/>
                <a:gd name="connsiteY12" fmla="*/ 86907 h 721177"/>
                <a:gd name="connsiteX13" fmla="*/ 137859 w 1046697"/>
                <a:gd name="connsiteY13" fmla="*/ 278939 h 721177"/>
                <a:gd name="connsiteX14" fmla="*/ 40364 w 1046697"/>
                <a:gd name="connsiteY14" fmla="*/ 369554 h 721177"/>
                <a:gd name="connsiteX15" fmla="*/ 34 w 1046697"/>
                <a:gd name="connsiteY15" fmla="*/ 483056 h 721177"/>
                <a:gd name="connsiteX16" fmla="*/ 52255 w 1046697"/>
                <a:gd name="connsiteY16" fmla="*/ 644884 h 721177"/>
                <a:gd name="connsiteX17" fmla="*/ 241308 w 1046697"/>
                <a:gd name="connsiteY17" fmla="*/ 719773 h 721177"/>
                <a:gd name="connsiteX0" fmla="*/ 241308 w 1046697"/>
                <a:gd name="connsiteY0" fmla="*/ 719773 h 721177"/>
                <a:gd name="connsiteX1" fmla="*/ 361719 w 1046697"/>
                <a:gd name="connsiteY1" fmla="*/ 720985 h 721177"/>
                <a:gd name="connsiteX2" fmla="*/ 537654 w 1046697"/>
                <a:gd name="connsiteY2" fmla="*/ 721038 h 721177"/>
                <a:gd name="connsiteX3" fmla="*/ 717134 w 1046697"/>
                <a:gd name="connsiteY3" fmla="*/ 720622 h 721177"/>
                <a:gd name="connsiteX4" fmla="*/ 836248 w 1046697"/>
                <a:gd name="connsiteY4" fmla="*/ 721177 h 721177"/>
                <a:gd name="connsiteX5" fmla="*/ 996254 w 1046697"/>
                <a:gd name="connsiteY5" fmla="*/ 643680 h 721177"/>
                <a:gd name="connsiteX6" fmla="*/ 1046697 w 1046697"/>
                <a:gd name="connsiteY6" fmla="*/ 514077 h 721177"/>
                <a:gd name="connsiteX7" fmla="*/ 997299 w 1046697"/>
                <a:gd name="connsiteY7" fmla="*/ 377242 h 721177"/>
                <a:gd name="connsiteX8" fmla="*/ 912734 w 1046697"/>
                <a:gd name="connsiteY8" fmla="*/ 316929 h 721177"/>
                <a:gd name="connsiteX9" fmla="*/ 818786 w 1046697"/>
                <a:gd name="connsiteY9" fmla="*/ 162828 h 721177"/>
                <a:gd name="connsiteX10" fmla="*/ 644291 w 1046697"/>
                <a:gd name="connsiteY10" fmla="*/ 142006 h 721177"/>
                <a:gd name="connsiteX11" fmla="*/ 403506 w 1046697"/>
                <a:gd name="connsiteY11" fmla="*/ 9 h 721177"/>
                <a:gd name="connsiteX12" fmla="*/ 212330 w 1046697"/>
                <a:gd name="connsiteY12" fmla="*/ 86907 h 721177"/>
                <a:gd name="connsiteX13" fmla="*/ 137859 w 1046697"/>
                <a:gd name="connsiteY13" fmla="*/ 278939 h 721177"/>
                <a:gd name="connsiteX14" fmla="*/ 40364 w 1046697"/>
                <a:gd name="connsiteY14" fmla="*/ 369554 h 721177"/>
                <a:gd name="connsiteX15" fmla="*/ 34 w 1046697"/>
                <a:gd name="connsiteY15" fmla="*/ 483056 h 721177"/>
                <a:gd name="connsiteX16" fmla="*/ 52255 w 1046697"/>
                <a:gd name="connsiteY16" fmla="*/ 644884 h 721177"/>
                <a:gd name="connsiteX17" fmla="*/ 241308 w 1046697"/>
                <a:gd name="connsiteY17" fmla="*/ 719773 h 721177"/>
                <a:gd name="connsiteX0" fmla="*/ 241308 w 1046697"/>
                <a:gd name="connsiteY0" fmla="*/ 719773 h 721177"/>
                <a:gd name="connsiteX1" fmla="*/ 361719 w 1046697"/>
                <a:gd name="connsiteY1" fmla="*/ 720985 h 721177"/>
                <a:gd name="connsiteX2" fmla="*/ 537654 w 1046697"/>
                <a:gd name="connsiteY2" fmla="*/ 721038 h 721177"/>
                <a:gd name="connsiteX3" fmla="*/ 717134 w 1046697"/>
                <a:gd name="connsiteY3" fmla="*/ 720622 h 721177"/>
                <a:gd name="connsiteX4" fmla="*/ 836248 w 1046697"/>
                <a:gd name="connsiteY4" fmla="*/ 721177 h 721177"/>
                <a:gd name="connsiteX5" fmla="*/ 996254 w 1046697"/>
                <a:gd name="connsiteY5" fmla="*/ 643680 h 721177"/>
                <a:gd name="connsiteX6" fmla="*/ 1046697 w 1046697"/>
                <a:gd name="connsiteY6" fmla="*/ 514077 h 721177"/>
                <a:gd name="connsiteX7" fmla="*/ 997299 w 1046697"/>
                <a:gd name="connsiteY7" fmla="*/ 377242 h 721177"/>
                <a:gd name="connsiteX8" fmla="*/ 912734 w 1046697"/>
                <a:gd name="connsiteY8" fmla="*/ 316929 h 721177"/>
                <a:gd name="connsiteX9" fmla="*/ 818786 w 1046697"/>
                <a:gd name="connsiteY9" fmla="*/ 162828 h 721177"/>
                <a:gd name="connsiteX10" fmla="*/ 644291 w 1046697"/>
                <a:gd name="connsiteY10" fmla="*/ 142006 h 721177"/>
                <a:gd name="connsiteX11" fmla="*/ 403506 w 1046697"/>
                <a:gd name="connsiteY11" fmla="*/ 9 h 721177"/>
                <a:gd name="connsiteX12" fmla="*/ 212330 w 1046697"/>
                <a:gd name="connsiteY12" fmla="*/ 86907 h 721177"/>
                <a:gd name="connsiteX13" fmla="*/ 137859 w 1046697"/>
                <a:gd name="connsiteY13" fmla="*/ 278939 h 721177"/>
                <a:gd name="connsiteX14" fmla="*/ 40364 w 1046697"/>
                <a:gd name="connsiteY14" fmla="*/ 369554 h 721177"/>
                <a:gd name="connsiteX15" fmla="*/ 34 w 1046697"/>
                <a:gd name="connsiteY15" fmla="*/ 483056 h 721177"/>
                <a:gd name="connsiteX16" fmla="*/ 52255 w 1046697"/>
                <a:gd name="connsiteY16" fmla="*/ 644884 h 721177"/>
                <a:gd name="connsiteX17" fmla="*/ 241308 w 1046697"/>
                <a:gd name="connsiteY17" fmla="*/ 719773 h 721177"/>
                <a:gd name="connsiteX0" fmla="*/ 241308 w 1046697"/>
                <a:gd name="connsiteY0" fmla="*/ 719773 h 721177"/>
                <a:gd name="connsiteX1" fmla="*/ 361719 w 1046697"/>
                <a:gd name="connsiteY1" fmla="*/ 720985 h 721177"/>
                <a:gd name="connsiteX2" fmla="*/ 537654 w 1046697"/>
                <a:gd name="connsiteY2" fmla="*/ 721038 h 721177"/>
                <a:gd name="connsiteX3" fmla="*/ 717134 w 1046697"/>
                <a:gd name="connsiteY3" fmla="*/ 720622 h 721177"/>
                <a:gd name="connsiteX4" fmla="*/ 836248 w 1046697"/>
                <a:gd name="connsiteY4" fmla="*/ 721177 h 721177"/>
                <a:gd name="connsiteX5" fmla="*/ 996254 w 1046697"/>
                <a:gd name="connsiteY5" fmla="*/ 643680 h 721177"/>
                <a:gd name="connsiteX6" fmla="*/ 1046697 w 1046697"/>
                <a:gd name="connsiteY6" fmla="*/ 514077 h 721177"/>
                <a:gd name="connsiteX7" fmla="*/ 997299 w 1046697"/>
                <a:gd name="connsiteY7" fmla="*/ 377242 h 721177"/>
                <a:gd name="connsiteX8" fmla="*/ 912734 w 1046697"/>
                <a:gd name="connsiteY8" fmla="*/ 316929 h 721177"/>
                <a:gd name="connsiteX9" fmla="*/ 818786 w 1046697"/>
                <a:gd name="connsiteY9" fmla="*/ 162828 h 721177"/>
                <a:gd name="connsiteX10" fmla="*/ 644291 w 1046697"/>
                <a:gd name="connsiteY10" fmla="*/ 142006 h 721177"/>
                <a:gd name="connsiteX11" fmla="*/ 403506 w 1046697"/>
                <a:gd name="connsiteY11" fmla="*/ 9 h 721177"/>
                <a:gd name="connsiteX12" fmla="*/ 212330 w 1046697"/>
                <a:gd name="connsiteY12" fmla="*/ 86907 h 721177"/>
                <a:gd name="connsiteX13" fmla="*/ 137859 w 1046697"/>
                <a:gd name="connsiteY13" fmla="*/ 278939 h 721177"/>
                <a:gd name="connsiteX14" fmla="*/ 40364 w 1046697"/>
                <a:gd name="connsiteY14" fmla="*/ 369554 h 721177"/>
                <a:gd name="connsiteX15" fmla="*/ 34 w 1046697"/>
                <a:gd name="connsiteY15" fmla="*/ 483056 h 721177"/>
                <a:gd name="connsiteX16" fmla="*/ 52255 w 1046697"/>
                <a:gd name="connsiteY16" fmla="*/ 644884 h 721177"/>
                <a:gd name="connsiteX17" fmla="*/ 241308 w 1046697"/>
                <a:gd name="connsiteY17" fmla="*/ 719773 h 721177"/>
                <a:gd name="connsiteX0" fmla="*/ 241308 w 1046697"/>
                <a:gd name="connsiteY0" fmla="*/ 719773 h 721177"/>
                <a:gd name="connsiteX1" fmla="*/ 361719 w 1046697"/>
                <a:gd name="connsiteY1" fmla="*/ 720985 h 721177"/>
                <a:gd name="connsiteX2" fmla="*/ 537654 w 1046697"/>
                <a:gd name="connsiteY2" fmla="*/ 721038 h 721177"/>
                <a:gd name="connsiteX3" fmla="*/ 717134 w 1046697"/>
                <a:gd name="connsiteY3" fmla="*/ 720622 h 721177"/>
                <a:gd name="connsiteX4" fmla="*/ 836248 w 1046697"/>
                <a:gd name="connsiteY4" fmla="*/ 721177 h 721177"/>
                <a:gd name="connsiteX5" fmla="*/ 996254 w 1046697"/>
                <a:gd name="connsiteY5" fmla="*/ 643680 h 721177"/>
                <a:gd name="connsiteX6" fmla="*/ 1046697 w 1046697"/>
                <a:gd name="connsiteY6" fmla="*/ 514077 h 721177"/>
                <a:gd name="connsiteX7" fmla="*/ 997299 w 1046697"/>
                <a:gd name="connsiteY7" fmla="*/ 377242 h 721177"/>
                <a:gd name="connsiteX8" fmla="*/ 912734 w 1046697"/>
                <a:gd name="connsiteY8" fmla="*/ 316929 h 721177"/>
                <a:gd name="connsiteX9" fmla="*/ 818786 w 1046697"/>
                <a:gd name="connsiteY9" fmla="*/ 162828 h 721177"/>
                <a:gd name="connsiteX10" fmla="*/ 644291 w 1046697"/>
                <a:gd name="connsiteY10" fmla="*/ 142006 h 721177"/>
                <a:gd name="connsiteX11" fmla="*/ 403506 w 1046697"/>
                <a:gd name="connsiteY11" fmla="*/ 9 h 721177"/>
                <a:gd name="connsiteX12" fmla="*/ 212330 w 1046697"/>
                <a:gd name="connsiteY12" fmla="*/ 86907 h 721177"/>
                <a:gd name="connsiteX13" fmla="*/ 137859 w 1046697"/>
                <a:gd name="connsiteY13" fmla="*/ 278939 h 721177"/>
                <a:gd name="connsiteX14" fmla="*/ 40364 w 1046697"/>
                <a:gd name="connsiteY14" fmla="*/ 369554 h 721177"/>
                <a:gd name="connsiteX15" fmla="*/ 34 w 1046697"/>
                <a:gd name="connsiteY15" fmla="*/ 483056 h 721177"/>
                <a:gd name="connsiteX16" fmla="*/ 52255 w 1046697"/>
                <a:gd name="connsiteY16" fmla="*/ 644884 h 721177"/>
                <a:gd name="connsiteX17" fmla="*/ 241308 w 1046697"/>
                <a:gd name="connsiteY17" fmla="*/ 719773 h 721177"/>
                <a:gd name="connsiteX0" fmla="*/ 241308 w 1046713"/>
                <a:gd name="connsiteY0" fmla="*/ 719773 h 721177"/>
                <a:gd name="connsiteX1" fmla="*/ 361719 w 1046713"/>
                <a:gd name="connsiteY1" fmla="*/ 720985 h 721177"/>
                <a:gd name="connsiteX2" fmla="*/ 537654 w 1046713"/>
                <a:gd name="connsiteY2" fmla="*/ 721038 h 721177"/>
                <a:gd name="connsiteX3" fmla="*/ 717134 w 1046713"/>
                <a:gd name="connsiteY3" fmla="*/ 720622 h 721177"/>
                <a:gd name="connsiteX4" fmla="*/ 836248 w 1046713"/>
                <a:gd name="connsiteY4" fmla="*/ 721177 h 721177"/>
                <a:gd name="connsiteX5" fmla="*/ 996254 w 1046713"/>
                <a:gd name="connsiteY5" fmla="*/ 643680 h 721177"/>
                <a:gd name="connsiteX6" fmla="*/ 1046697 w 1046713"/>
                <a:gd name="connsiteY6" fmla="*/ 514077 h 721177"/>
                <a:gd name="connsiteX7" fmla="*/ 997299 w 1046713"/>
                <a:gd name="connsiteY7" fmla="*/ 377242 h 721177"/>
                <a:gd name="connsiteX8" fmla="*/ 912734 w 1046713"/>
                <a:gd name="connsiteY8" fmla="*/ 316929 h 721177"/>
                <a:gd name="connsiteX9" fmla="*/ 818786 w 1046713"/>
                <a:gd name="connsiteY9" fmla="*/ 162828 h 721177"/>
                <a:gd name="connsiteX10" fmla="*/ 644291 w 1046713"/>
                <a:gd name="connsiteY10" fmla="*/ 142006 h 721177"/>
                <a:gd name="connsiteX11" fmla="*/ 403506 w 1046713"/>
                <a:gd name="connsiteY11" fmla="*/ 9 h 721177"/>
                <a:gd name="connsiteX12" fmla="*/ 212330 w 1046713"/>
                <a:gd name="connsiteY12" fmla="*/ 86907 h 721177"/>
                <a:gd name="connsiteX13" fmla="*/ 137859 w 1046713"/>
                <a:gd name="connsiteY13" fmla="*/ 278939 h 721177"/>
                <a:gd name="connsiteX14" fmla="*/ 40364 w 1046713"/>
                <a:gd name="connsiteY14" fmla="*/ 369554 h 721177"/>
                <a:gd name="connsiteX15" fmla="*/ 34 w 1046713"/>
                <a:gd name="connsiteY15" fmla="*/ 483056 h 721177"/>
                <a:gd name="connsiteX16" fmla="*/ 52255 w 1046713"/>
                <a:gd name="connsiteY16" fmla="*/ 644884 h 721177"/>
                <a:gd name="connsiteX17" fmla="*/ 241308 w 1046713"/>
                <a:gd name="connsiteY17" fmla="*/ 719773 h 721177"/>
                <a:gd name="connsiteX0" fmla="*/ 241308 w 1046697"/>
                <a:gd name="connsiteY0" fmla="*/ 719773 h 721177"/>
                <a:gd name="connsiteX1" fmla="*/ 361719 w 1046697"/>
                <a:gd name="connsiteY1" fmla="*/ 720985 h 721177"/>
                <a:gd name="connsiteX2" fmla="*/ 537654 w 1046697"/>
                <a:gd name="connsiteY2" fmla="*/ 721038 h 721177"/>
                <a:gd name="connsiteX3" fmla="*/ 717134 w 1046697"/>
                <a:gd name="connsiteY3" fmla="*/ 720622 h 721177"/>
                <a:gd name="connsiteX4" fmla="*/ 836248 w 1046697"/>
                <a:gd name="connsiteY4" fmla="*/ 721177 h 721177"/>
                <a:gd name="connsiteX5" fmla="*/ 996254 w 1046697"/>
                <a:gd name="connsiteY5" fmla="*/ 643680 h 721177"/>
                <a:gd name="connsiteX6" fmla="*/ 1046697 w 1046697"/>
                <a:gd name="connsiteY6" fmla="*/ 514077 h 721177"/>
                <a:gd name="connsiteX7" fmla="*/ 997299 w 1046697"/>
                <a:gd name="connsiteY7" fmla="*/ 377242 h 721177"/>
                <a:gd name="connsiteX8" fmla="*/ 912734 w 1046697"/>
                <a:gd name="connsiteY8" fmla="*/ 316929 h 721177"/>
                <a:gd name="connsiteX9" fmla="*/ 818786 w 1046697"/>
                <a:gd name="connsiteY9" fmla="*/ 162828 h 721177"/>
                <a:gd name="connsiteX10" fmla="*/ 644291 w 1046697"/>
                <a:gd name="connsiteY10" fmla="*/ 142006 h 721177"/>
                <a:gd name="connsiteX11" fmla="*/ 403506 w 1046697"/>
                <a:gd name="connsiteY11" fmla="*/ 9 h 721177"/>
                <a:gd name="connsiteX12" fmla="*/ 212330 w 1046697"/>
                <a:gd name="connsiteY12" fmla="*/ 86907 h 721177"/>
                <a:gd name="connsiteX13" fmla="*/ 137859 w 1046697"/>
                <a:gd name="connsiteY13" fmla="*/ 278939 h 721177"/>
                <a:gd name="connsiteX14" fmla="*/ 40364 w 1046697"/>
                <a:gd name="connsiteY14" fmla="*/ 369554 h 721177"/>
                <a:gd name="connsiteX15" fmla="*/ 34 w 1046697"/>
                <a:gd name="connsiteY15" fmla="*/ 483056 h 721177"/>
                <a:gd name="connsiteX16" fmla="*/ 52255 w 1046697"/>
                <a:gd name="connsiteY16" fmla="*/ 644884 h 721177"/>
                <a:gd name="connsiteX17" fmla="*/ 241308 w 1046697"/>
                <a:gd name="connsiteY17" fmla="*/ 719773 h 721177"/>
                <a:gd name="connsiteX0" fmla="*/ 241308 w 1046699"/>
                <a:gd name="connsiteY0" fmla="*/ 719773 h 721177"/>
                <a:gd name="connsiteX1" fmla="*/ 361719 w 1046699"/>
                <a:gd name="connsiteY1" fmla="*/ 720985 h 721177"/>
                <a:gd name="connsiteX2" fmla="*/ 537654 w 1046699"/>
                <a:gd name="connsiteY2" fmla="*/ 721038 h 721177"/>
                <a:gd name="connsiteX3" fmla="*/ 717134 w 1046699"/>
                <a:gd name="connsiteY3" fmla="*/ 720622 h 721177"/>
                <a:gd name="connsiteX4" fmla="*/ 836248 w 1046699"/>
                <a:gd name="connsiteY4" fmla="*/ 721177 h 721177"/>
                <a:gd name="connsiteX5" fmla="*/ 995381 w 1046699"/>
                <a:gd name="connsiteY5" fmla="*/ 646300 h 721177"/>
                <a:gd name="connsiteX6" fmla="*/ 1046697 w 1046699"/>
                <a:gd name="connsiteY6" fmla="*/ 514077 h 721177"/>
                <a:gd name="connsiteX7" fmla="*/ 997299 w 1046699"/>
                <a:gd name="connsiteY7" fmla="*/ 377242 h 721177"/>
                <a:gd name="connsiteX8" fmla="*/ 912734 w 1046699"/>
                <a:gd name="connsiteY8" fmla="*/ 316929 h 721177"/>
                <a:gd name="connsiteX9" fmla="*/ 818786 w 1046699"/>
                <a:gd name="connsiteY9" fmla="*/ 162828 h 721177"/>
                <a:gd name="connsiteX10" fmla="*/ 644291 w 1046699"/>
                <a:gd name="connsiteY10" fmla="*/ 142006 h 721177"/>
                <a:gd name="connsiteX11" fmla="*/ 403506 w 1046699"/>
                <a:gd name="connsiteY11" fmla="*/ 9 h 721177"/>
                <a:gd name="connsiteX12" fmla="*/ 212330 w 1046699"/>
                <a:gd name="connsiteY12" fmla="*/ 86907 h 721177"/>
                <a:gd name="connsiteX13" fmla="*/ 137859 w 1046699"/>
                <a:gd name="connsiteY13" fmla="*/ 278939 h 721177"/>
                <a:gd name="connsiteX14" fmla="*/ 40364 w 1046699"/>
                <a:gd name="connsiteY14" fmla="*/ 369554 h 721177"/>
                <a:gd name="connsiteX15" fmla="*/ 34 w 1046699"/>
                <a:gd name="connsiteY15" fmla="*/ 483056 h 721177"/>
                <a:gd name="connsiteX16" fmla="*/ 52255 w 1046699"/>
                <a:gd name="connsiteY16" fmla="*/ 644884 h 721177"/>
                <a:gd name="connsiteX17" fmla="*/ 241308 w 1046699"/>
                <a:gd name="connsiteY17" fmla="*/ 719773 h 721177"/>
                <a:gd name="connsiteX0" fmla="*/ 241308 w 1046699"/>
                <a:gd name="connsiteY0" fmla="*/ 719773 h 721177"/>
                <a:gd name="connsiteX1" fmla="*/ 361719 w 1046699"/>
                <a:gd name="connsiteY1" fmla="*/ 720985 h 721177"/>
                <a:gd name="connsiteX2" fmla="*/ 537654 w 1046699"/>
                <a:gd name="connsiteY2" fmla="*/ 721038 h 721177"/>
                <a:gd name="connsiteX3" fmla="*/ 717134 w 1046699"/>
                <a:gd name="connsiteY3" fmla="*/ 720622 h 721177"/>
                <a:gd name="connsiteX4" fmla="*/ 836248 w 1046699"/>
                <a:gd name="connsiteY4" fmla="*/ 721177 h 721177"/>
                <a:gd name="connsiteX5" fmla="*/ 995381 w 1046699"/>
                <a:gd name="connsiteY5" fmla="*/ 646300 h 721177"/>
                <a:gd name="connsiteX6" fmla="*/ 1046697 w 1046699"/>
                <a:gd name="connsiteY6" fmla="*/ 514077 h 721177"/>
                <a:gd name="connsiteX7" fmla="*/ 997299 w 1046699"/>
                <a:gd name="connsiteY7" fmla="*/ 377242 h 721177"/>
                <a:gd name="connsiteX8" fmla="*/ 912734 w 1046699"/>
                <a:gd name="connsiteY8" fmla="*/ 316929 h 721177"/>
                <a:gd name="connsiteX9" fmla="*/ 818786 w 1046699"/>
                <a:gd name="connsiteY9" fmla="*/ 162828 h 721177"/>
                <a:gd name="connsiteX10" fmla="*/ 644291 w 1046699"/>
                <a:gd name="connsiteY10" fmla="*/ 142006 h 721177"/>
                <a:gd name="connsiteX11" fmla="*/ 403506 w 1046699"/>
                <a:gd name="connsiteY11" fmla="*/ 9 h 721177"/>
                <a:gd name="connsiteX12" fmla="*/ 212330 w 1046699"/>
                <a:gd name="connsiteY12" fmla="*/ 86907 h 721177"/>
                <a:gd name="connsiteX13" fmla="*/ 137859 w 1046699"/>
                <a:gd name="connsiteY13" fmla="*/ 278939 h 721177"/>
                <a:gd name="connsiteX14" fmla="*/ 40364 w 1046699"/>
                <a:gd name="connsiteY14" fmla="*/ 369554 h 721177"/>
                <a:gd name="connsiteX15" fmla="*/ 34 w 1046699"/>
                <a:gd name="connsiteY15" fmla="*/ 483056 h 721177"/>
                <a:gd name="connsiteX16" fmla="*/ 52255 w 1046699"/>
                <a:gd name="connsiteY16" fmla="*/ 644884 h 721177"/>
                <a:gd name="connsiteX17" fmla="*/ 241308 w 1046699"/>
                <a:gd name="connsiteY17" fmla="*/ 719773 h 721177"/>
                <a:gd name="connsiteX0" fmla="*/ 241308 w 1046706"/>
                <a:gd name="connsiteY0" fmla="*/ 719773 h 721177"/>
                <a:gd name="connsiteX1" fmla="*/ 361719 w 1046706"/>
                <a:gd name="connsiteY1" fmla="*/ 720985 h 721177"/>
                <a:gd name="connsiteX2" fmla="*/ 537654 w 1046706"/>
                <a:gd name="connsiteY2" fmla="*/ 721038 h 721177"/>
                <a:gd name="connsiteX3" fmla="*/ 717134 w 1046706"/>
                <a:gd name="connsiteY3" fmla="*/ 720622 h 721177"/>
                <a:gd name="connsiteX4" fmla="*/ 836248 w 1046706"/>
                <a:gd name="connsiteY4" fmla="*/ 721177 h 721177"/>
                <a:gd name="connsiteX5" fmla="*/ 995381 w 1046706"/>
                <a:gd name="connsiteY5" fmla="*/ 646300 h 721177"/>
                <a:gd name="connsiteX6" fmla="*/ 1046697 w 1046706"/>
                <a:gd name="connsiteY6" fmla="*/ 514077 h 721177"/>
                <a:gd name="connsiteX7" fmla="*/ 997299 w 1046706"/>
                <a:gd name="connsiteY7" fmla="*/ 377242 h 721177"/>
                <a:gd name="connsiteX8" fmla="*/ 912734 w 1046706"/>
                <a:gd name="connsiteY8" fmla="*/ 316929 h 721177"/>
                <a:gd name="connsiteX9" fmla="*/ 818786 w 1046706"/>
                <a:gd name="connsiteY9" fmla="*/ 162828 h 721177"/>
                <a:gd name="connsiteX10" fmla="*/ 644291 w 1046706"/>
                <a:gd name="connsiteY10" fmla="*/ 142006 h 721177"/>
                <a:gd name="connsiteX11" fmla="*/ 403506 w 1046706"/>
                <a:gd name="connsiteY11" fmla="*/ 9 h 721177"/>
                <a:gd name="connsiteX12" fmla="*/ 212330 w 1046706"/>
                <a:gd name="connsiteY12" fmla="*/ 86907 h 721177"/>
                <a:gd name="connsiteX13" fmla="*/ 137859 w 1046706"/>
                <a:gd name="connsiteY13" fmla="*/ 278939 h 721177"/>
                <a:gd name="connsiteX14" fmla="*/ 40364 w 1046706"/>
                <a:gd name="connsiteY14" fmla="*/ 369554 h 721177"/>
                <a:gd name="connsiteX15" fmla="*/ 34 w 1046706"/>
                <a:gd name="connsiteY15" fmla="*/ 483056 h 721177"/>
                <a:gd name="connsiteX16" fmla="*/ 52255 w 1046706"/>
                <a:gd name="connsiteY16" fmla="*/ 644884 h 721177"/>
                <a:gd name="connsiteX17" fmla="*/ 241308 w 1046706"/>
                <a:gd name="connsiteY17" fmla="*/ 719773 h 721177"/>
                <a:gd name="connsiteX0" fmla="*/ 241308 w 1046706"/>
                <a:gd name="connsiteY0" fmla="*/ 719773 h 721177"/>
                <a:gd name="connsiteX1" fmla="*/ 361719 w 1046706"/>
                <a:gd name="connsiteY1" fmla="*/ 720985 h 721177"/>
                <a:gd name="connsiteX2" fmla="*/ 537654 w 1046706"/>
                <a:gd name="connsiteY2" fmla="*/ 721038 h 721177"/>
                <a:gd name="connsiteX3" fmla="*/ 717134 w 1046706"/>
                <a:gd name="connsiteY3" fmla="*/ 720622 h 721177"/>
                <a:gd name="connsiteX4" fmla="*/ 836248 w 1046706"/>
                <a:gd name="connsiteY4" fmla="*/ 721177 h 721177"/>
                <a:gd name="connsiteX5" fmla="*/ 995381 w 1046706"/>
                <a:gd name="connsiteY5" fmla="*/ 646300 h 721177"/>
                <a:gd name="connsiteX6" fmla="*/ 1046697 w 1046706"/>
                <a:gd name="connsiteY6" fmla="*/ 514077 h 721177"/>
                <a:gd name="connsiteX7" fmla="*/ 997299 w 1046706"/>
                <a:gd name="connsiteY7" fmla="*/ 377242 h 721177"/>
                <a:gd name="connsiteX8" fmla="*/ 912734 w 1046706"/>
                <a:gd name="connsiteY8" fmla="*/ 316929 h 721177"/>
                <a:gd name="connsiteX9" fmla="*/ 818786 w 1046706"/>
                <a:gd name="connsiteY9" fmla="*/ 162828 h 721177"/>
                <a:gd name="connsiteX10" fmla="*/ 644291 w 1046706"/>
                <a:gd name="connsiteY10" fmla="*/ 142006 h 721177"/>
                <a:gd name="connsiteX11" fmla="*/ 403506 w 1046706"/>
                <a:gd name="connsiteY11" fmla="*/ 9 h 721177"/>
                <a:gd name="connsiteX12" fmla="*/ 212330 w 1046706"/>
                <a:gd name="connsiteY12" fmla="*/ 86907 h 721177"/>
                <a:gd name="connsiteX13" fmla="*/ 137859 w 1046706"/>
                <a:gd name="connsiteY13" fmla="*/ 278939 h 721177"/>
                <a:gd name="connsiteX14" fmla="*/ 40364 w 1046706"/>
                <a:gd name="connsiteY14" fmla="*/ 369554 h 721177"/>
                <a:gd name="connsiteX15" fmla="*/ 34 w 1046706"/>
                <a:gd name="connsiteY15" fmla="*/ 483056 h 721177"/>
                <a:gd name="connsiteX16" fmla="*/ 52255 w 1046706"/>
                <a:gd name="connsiteY16" fmla="*/ 644884 h 721177"/>
                <a:gd name="connsiteX17" fmla="*/ 241308 w 1046706"/>
                <a:gd name="connsiteY17" fmla="*/ 719773 h 721177"/>
                <a:gd name="connsiteX0" fmla="*/ 241308 w 1046714"/>
                <a:gd name="connsiteY0" fmla="*/ 719773 h 721177"/>
                <a:gd name="connsiteX1" fmla="*/ 361719 w 1046714"/>
                <a:gd name="connsiteY1" fmla="*/ 720985 h 721177"/>
                <a:gd name="connsiteX2" fmla="*/ 537654 w 1046714"/>
                <a:gd name="connsiteY2" fmla="*/ 721038 h 721177"/>
                <a:gd name="connsiteX3" fmla="*/ 717134 w 1046714"/>
                <a:gd name="connsiteY3" fmla="*/ 720622 h 721177"/>
                <a:gd name="connsiteX4" fmla="*/ 836248 w 1046714"/>
                <a:gd name="connsiteY4" fmla="*/ 721177 h 721177"/>
                <a:gd name="connsiteX5" fmla="*/ 995381 w 1046714"/>
                <a:gd name="connsiteY5" fmla="*/ 646300 h 721177"/>
                <a:gd name="connsiteX6" fmla="*/ 1046697 w 1046714"/>
                <a:gd name="connsiteY6" fmla="*/ 514077 h 721177"/>
                <a:gd name="connsiteX7" fmla="*/ 997299 w 1046714"/>
                <a:gd name="connsiteY7" fmla="*/ 377242 h 721177"/>
                <a:gd name="connsiteX8" fmla="*/ 912734 w 1046714"/>
                <a:gd name="connsiteY8" fmla="*/ 316929 h 721177"/>
                <a:gd name="connsiteX9" fmla="*/ 818786 w 1046714"/>
                <a:gd name="connsiteY9" fmla="*/ 162828 h 721177"/>
                <a:gd name="connsiteX10" fmla="*/ 644291 w 1046714"/>
                <a:gd name="connsiteY10" fmla="*/ 142006 h 721177"/>
                <a:gd name="connsiteX11" fmla="*/ 403506 w 1046714"/>
                <a:gd name="connsiteY11" fmla="*/ 9 h 721177"/>
                <a:gd name="connsiteX12" fmla="*/ 212330 w 1046714"/>
                <a:gd name="connsiteY12" fmla="*/ 86907 h 721177"/>
                <a:gd name="connsiteX13" fmla="*/ 137859 w 1046714"/>
                <a:gd name="connsiteY13" fmla="*/ 278939 h 721177"/>
                <a:gd name="connsiteX14" fmla="*/ 40364 w 1046714"/>
                <a:gd name="connsiteY14" fmla="*/ 369554 h 721177"/>
                <a:gd name="connsiteX15" fmla="*/ 34 w 1046714"/>
                <a:gd name="connsiteY15" fmla="*/ 483056 h 721177"/>
                <a:gd name="connsiteX16" fmla="*/ 52255 w 1046714"/>
                <a:gd name="connsiteY16" fmla="*/ 644884 h 721177"/>
                <a:gd name="connsiteX17" fmla="*/ 241308 w 1046714"/>
                <a:gd name="connsiteY17" fmla="*/ 719773 h 721177"/>
                <a:gd name="connsiteX0" fmla="*/ 241308 w 1046714"/>
                <a:gd name="connsiteY0" fmla="*/ 719778 h 721182"/>
                <a:gd name="connsiteX1" fmla="*/ 361719 w 1046714"/>
                <a:gd name="connsiteY1" fmla="*/ 720990 h 721182"/>
                <a:gd name="connsiteX2" fmla="*/ 537654 w 1046714"/>
                <a:gd name="connsiteY2" fmla="*/ 721043 h 721182"/>
                <a:gd name="connsiteX3" fmla="*/ 717134 w 1046714"/>
                <a:gd name="connsiteY3" fmla="*/ 720627 h 721182"/>
                <a:gd name="connsiteX4" fmla="*/ 836248 w 1046714"/>
                <a:gd name="connsiteY4" fmla="*/ 721182 h 721182"/>
                <a:gd name="connsiteX5" fmla="*/ 995381 w 1046714"/>
                <a:gd name="connsiteY5" fmla="*/ 646305 h 721182"/>
                <a:gd name="connsiteX6" fmla="*/ 1046697 w 1046714"/>
                <a:gd name="connsiteY6" fmla="*/ 514082 h 721182"/>
                <a:gd name="connsiteX7" fmla="*/ 997299 w 1046714"/>
                <a:gd name="connsiteY7" fmla="*/ 377247 h 721182"/>
                <a:gd name="connsiteX8" fmla="*/ 912734 w 1046714"/>
                <a:gd name="connsiteY8" fmla="*/ 316934 h 721182"/>
                <a:gd name="connsiteX9" fmla="*/ 818786 w 1046714"/>
                <a:gd name="connsiteY9" fmla="*/ 162833 h 721182"/>
                <a:gd name="connsiteX10" fmla="*/ 678355 w 1046714"/>
                <a:gd name="connsiteY10" fmla="*/ 113188 h 721182"/>
                <a:gd name="connsiteX11" fmla="*/ 403506 w 1046714"/>
                <a:gd name="connsiteY11" fmla="*/ 14 h 721182"/>
                <a:gd name="connsiteX12" fmla="*/ 212330 w 1046714"/>
                <a:gd name="connsiteY12" fmla="*/ 86912 h 721182"/>
                <a:gd name="connsiteX13" fmla="*/ 137859 w 1046714"/>
                <a:gd name="connsiteY13" fmla="*/ 278944 h 721182"/>
                <a:gd name="connsiteX14" fmla="*/ 40364 w 1046714"/>
                <a:gd name="connsiteY14" fmla="*/ 369559 h 721182"/>
                <a:gd name="connsiteX15" fmla="*/ 34 w 1046714"/>
                <a:gd name="connsiteY15" fmla="*/ 483061 h 721182"/>
                <a:gd name="connsiteX16" fmla="*/ 52255 w 1046714"/>
                <a:gd name="connsiteY16" fmla="*/ 644889 h 721182"/>
                <a:gd name="connsiteX17" fmla="*/ 241308 w 1046714"/>
                <a:gd name="connsiteY17" fmla="*/ 719778 h 721182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18786 w 1046714"/>
                <a:gd name="connsiteY9" fmla="*/ 162829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37859 w 1046714"/>
                <a:gd name="connsiteY13" fmla="*/ 278940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9774 h 721178"/>
                <a:gd name="connsiteX1" fmla="*/ 361719 w 1046714"/>
                <a:gd name="connsiteY1" fmla="*/ 720986 h 721178"/>
                <a:gd name="connsiteX2" fmla="*/ 537654 w 1046714"/>
                <a:gd name="connsiteY2" fmla="*/ 721039 h 721178"/>
                <a:gd name="connsiteX3" fmla="*/ 717134 w 1046714"/>
                <a:gd name="connsiteY3" fmla="*/ 720623 h 721178"/>
                <a:gd name="connsiteX4" fmla="*/ 836248 w 1046714"/>
                <a:gd name="connsiteY4" fmla="*/ 721178 h 721178"/>
                <a:gd name="connsiteX5" fmla="*/ 995381 w 1046714"/>
                <a:gd name="connsiteY5" fmla="*/ 646301 h 721178"/>
                <a:gd name="connsiteX6" fmla="*/ 1046697 w 1046714"/>
                <a:gd name="connsiteY6" fmla="*/ 514078 h 721178"/>
                <a:gd name="connsiteX7" fmla="*/ 997299 w 1046714"/>
                <a:gd name="connsiteY7" fmla="*/ 377243 h 721178"/>
                <a:gd name="connsiteX8" fmla="*/ 912734 w 1046714"/>
                <a:gd name="connsiteY8" fmla="*/ 316930 h 721178"/>
                <a:gd name="connsiteX9" fmla="*/ 855470 w 1046714"/>
                <a:gd name="connsiteY9" fmla="*/ 142740 h 721178"/>
                <a:gd name="connsiteX10" fmla="*/ 666127 w 1046714"/>
                <a:gd name="connsiteY10" fmla="*/ 134146 h 721178"/>
                <a:gd name="connsiteX11" fmla="*/ 403506 w 1046714"/>
                <a:gd name="connsiteY11" fmla="*/ 10 h 721178"/>
                <a:gd name="connsiteX12" fmla="*/ 212330 w 1046714"/>
                <a:gd name="connsiteY12" fmla="*/ 86908 h 721178"/>
                <a:gd name="connsiteX13" fmla="*/ 147467 w 1046714"/>
                <a:gd name="connsiteY13" fmla="*/ 262345 h 721178"/>
                <a:gd name="connsiteX14" fmla="*/ 40364 w 1046714"/>
                <a:gd name="connsiteY14" fmla="*/ 369555 h 721178"/>
                <a:gd name="connsiteX15" fmla="*/ 34 w 1046714"/>
                <a:gd name="connsiteY15" fmla="*/ 483057 h 721178"/>
                <a:gd name="connsiteX16" fmla="*/ 52255 w 1046714"/>
                <a:gd name="connsiteY16" fmla="*/ 644885 h 721178"/>
                <a:gd name="connsiteX17" fmla="*/ 241308 w 1046714"/>
                <a:gd name="connsiteY17" fmla="*/ 719774 h 721178"/>
                <a:gd name="connsiteX0" fmla="*/ 241308 w 1046714"/>
                <a:gd name="connsiteY0" fmla="*/ 711042 h 712446"/>
                <a:gd name="connsiteX1" fmla="*/ 361719 w 1046714"/>
                <a:gd name="connsiteY1" fmla="*/ 712254 h 712446"/>
                <a:gd name="connsiteX2" fmla="*/ 537654 w 1046714"/>
                <a:gd name="connsiteY2" fmla="*/ 712307 h 712446"/>
                <a:gd name="connsiteX3" fmla="*/ 717134 w 1046714"/>
                <a:gd name="connsiteY3" fmla="*/ 711891 h 712446"/>
                <a:gd name="connsiteX4" fmla="*/ 836248 w 1046714"/>
                <a:gd name="connsiteY4" fmla="*/ 712446 h 712446"/>
                <a:gd name="connsiteX5" fmla="*/ 995381 w 1046714"/>
                <a:gd name="connsiteY5" fmla="*/ 637569 h 712446"/>
                <a:gd name="connsiteX6" fmla="*/ 1046697 w 1046714"/>
                <a:gd name="connsiteY6" fmla="*/ 505346 h 712446"/>
                <a:gd name="connsiteX7" fmla="*/ 997299 w 1046714"/>
                <a:gd name="connsiteY7" fmla="*/ 368511 h 712446"/>
                <a:gd name="connsiteX8" fmla="*/ 912734 w 1046714"/>
                <a:gd name="connsiteY8" fmla="*/ 308198 h 712446"/>
                <a:gd name="connsiteX9" fmla="*/ 855470 w 1046714"/>
                <a:gd name="connsiteY9" fmla="*/ 134008 h 712446"/>
                <a:gd name="connsiteX10" fmla="*/ 666127 w 1046714"/>
                <a:gd name="connsiteY10" fmla="*/ 125414 h 712446"/>
                <a:gd name="connsiteX11" fmla="*/ 430582 w 1046714"/>
                <a:gd name="connsiteY11" fmla="*/ 12 h 712446"/>
                <a:gd name="connsiteX12" fmla="*/ 212330 w 1046714"/>
                <a:gd name="connsiteY12" fmla="*/ 78176 h 712446"/>
                <a:gd name="connsiteX13" fmla="*/ 147467 w 1046714"/>
                <a:gd name="connsiteY13" fmla="*/ 253613 h 712446"/>
                <a:gd name="connsiteX14" fmla="*/ 40364 w 1046714"/>
                <a:gd name="connsiteY14" fmla="*/ 360823 h 712446"/>
                <a:gd name="connsiteX15" fmla="*/ 34 w 1046714"/>
                <a:gd name="connsiteY15" fmla="*/ 474325 h 712446"/>
                <a:gd name="connsiteX16" fmla="*/ 52255 w 1046714"/>
                <a:gd name="connsiteY16" fmla="*/ 636153 h 712446"/>
                <a:gd name="connsiteX17" fmla="*/ 241308 w 1046714"/>
                <a:gd name="connsiteY17" fmla="*/ 711042 h 712446"/>
                <a:gd name="connsiteX0" fmla="*/ 241308 w 1046714"/>
                <a:gd name="connsiteY0" fmla="*/ 711042 h 712446"/>
                <a:gd name="connsiteX1" fmla="*/ 361719 w 1046714"/>
                <a:gd name="connsiteY1" fmla="*/ 712254 h 712446"/>
                <a:gd name="connsiteX2" fmla="*/ 537654 w 1046714"/>
                <a:gd name="connsiteY2" fmla="*/ 712307 h 712446"/>
                <a:gd name="connsiteX3" fmla="*/ 717134 w 1046714"/>
                <a:gd name="connsiteY3" fmla="*/ 711891 h 712446"/>
                <a:gd name="connsiteX4" fmla="*/ 836248 w 1046714"/>
                <a:gd name="connsiteY4" fmla="*/ 712446 h 712446"/>
                <a:gd name="connsiteX5" fmla="*/ 995381 w 1046714"/>
                <a:gd name="connsiteY5" fmla="*/ 637569 h 712446"/>
                <a:gd name="connsiteX6" fmla="*/ 1046697 w 1046714"/>
                <a:gd name="connsiteY6" fmla="*/ 505346 h 712446"/>
                <a:gd name="connsiteX7" fmla="*/ 997299 w 1046714"/>
                <a:gd name="connsiteY7" fmla="*/ 368511 h 712446"/>
                <a:gd name="connsiteX8" fmla="*/ 912734 w 1046714"/>
                <a:gd name="connsiteY8" fmla="*/ 308198 h 712446"/>
                <a:gd name="connsiteX9" fmla="*/ 855470 w 1046714"/>
                <a:gd name="connsiteY9" fmla="*/ 134008 h 712446"/>
                <a:gd name="connsiteX10" fmla="*/ 666127 w 1046714"/>
                <a:gd name="connsiteY10" fmla="*/ 125414 h 712446"/>
                <a:gd name="connsiteX11" fmla="*/ 430582 w 1046714"/>
                <a:gd name="connsiteY11" fmla="*/ 12 h 712446"/>
                <a:gd name="connsiteX12" fmla="*/ 225432 w 1046714"/>
                <a:gd name="connsiteY12" fmla="*/ 87784 h 712446"/>
                <a:gd name="connsiteX13" fmla="*/ 147467 w 1046714"/>
                <a:gd name="connsiteY13" fmla="*/ 253613 h 712446"/>
                <a:gd name="connsiteX14" fmla="*/ 40364 w 1046714"/>
                <a:gd name="connsiteY14" fmla="*/ 360823 h 712446"/>
                <a:gd name="connsiteX15" fmla="*/ 34 w 1046714"/>
                <a:gd name="connsiteY15" fmla="*/ 474325 h 712446"/>
                <a:gd name="connsiteX16" fmla="*/ 52255 w 1046714"/>
                <a:gd name="connsiteY16" fmla="*/ 636153 h 712446"/>
                <a:gd name="connsiteX17" fmla="*/ 241308 w 1046714"/>
                <a:gd name="connsiteY17" fmla="*/ 711042 h 712446"/>
                <a:gd name="connsiteX0" fmla="*/ 241308 w 1046714"/>
                <a:gd name="connsiteY0" fmla="*/ 711042 h 712446"/>
                <a:gd name="connsiteX1" fmla="*/ 361719 w 1046714"/>
                <a:gd name="connsiteY1" fmla="*/ 712254 h 712446"/>
                <a:gd name="connsiteX2" fmla="*/ 537654 w 1046714"/>
                <a:gd name="connsiteY2" fmla="*/ 712307 h 712446"/>
                <a:gd name="connsiteX3" fmla="*/ 717134 w 1046714"/>
                <a:gd name="connsiteY3" fmla="*/ 711891 h 712446"/>
                <a:gd name="connsiteX4" fmla="*/ 836248 w 1046714"/>
                <a:gd name="connsiteY4" fmla="*/ 712446 h 712446"/>
                <a:gd name="connsiteX5" fmla="*/ 995381 w 1046714"/>
                <a:gd name="connsiteY5" fmla="*/ 637569 h 712446"/>
                <a:gd name="connsiteX6" fmla="*/ 1046697 w 1046714"/>
                <a:gd name="connsiteY6" fmla="*/ 505346 h 712446"/>
                <a:gd name="connsiteX7" fmla="*/ 997299 w 1046714"/>
                <a:gd name="connsiteY7" fmla="*/ 368511 h 712446"/>
                <a:gd name="connsiteX8" fmla="*/ 912734 w 1046714"/>
                <a:gd name="connsiteY8" fmla="*/ 308198 h 712446"/>
                <a:gd name="connsiteX9" fmla="*/ 855470 w 1046714"/>
                <a:gd name="connsiteY9" fmla="*/ 134008 h 712446"/>
                <a:gd name="connsiteX10" fmla="*/ 666127 w 1046714"/>
                <a:gd name="connsiteY10" fmla="*/ 125414 h 712446"/>
                <a:gd name="connsiteX11" fmla="*/ 430582 w 1046714"/>
                <a:gd name="connsiteY11" fmla="*/ 12 h 712446"/>
                <a:gd name="connsiteX12" fmla="*/ 225432 w 1046714"/>
                <a:gd name="connsiteY12" fmla="*/ 87784 h 712446"/>
                <a:gd name="connsiteX13" fmla="*/ 147467 w 1046714"/>
                <a:gd name="connsiteY13" fmla="*/ 253613 h 712446"/>
                <a:gd name="connsiteX14" fmla="*/ 40364 w 1046714"/>
                <a:gd name="connsiteY14" fmla="*/ 360823 h 712446"/>
                <a:gd name="connsiteX15" fmla="*/ 34 w 1046714"/>
                <a:gd name="connsiteY15" fmla="*/ 474325 h 712446"/>
                <a:gd name="connsiteX16" fmla="*/ 52255 w 1046714"/>
                <a:gd name="connsiteY16" fmla="*/ 636153 h 712446"/>
                <a:gd name="connsiteX17" fmla="*/ 241308 w 1046714"/>
                <a:gd name="connsiteY17" fmla="*/ 711042 h 712446"/>
                <a:gd name="connsiteX0" fmla="*/ 241308 w 1046714"/>
                <a:gd name="connsiteY0" fmla="*/ 711073 h 712477"/>
                <a:gd name="connsiteX1" fmla="*/ 361719 w 1046714"/>
                <a:gd name="connsiteY1" fmla="*/ 712285 h 712477"/>
                <a:gd name="connsiteX2" fmla="*/ 537654 w 1046714"/>
                <a:gd name="connsiteY2" fmla="*/ 712338 h 712477"/>
                <a:gd name="connsiteX3" fmla="*/ 717134 w 1046714"/>
                <a:gd name="connsiteY3" fmla="*/ 711922 h 712477"/>
                <a:gd name="connsiteX4" fmla="*/ 836248 w 1046714"/>
                <a:gd name="connsiteY4" fmla="*/ 712477 h 712477"/>
                <a:gd name="connsiteX5" fmla="*/ 995381 w 1046714"/>
                <a:gd name="connsiteY5" fmla="*/ 637600 h 712477"/>
                <a:gd name="connsiteX6" fmla="*/ 1046697 w 1046714"/>
                <a:gd name="connsiteY6" fmla="*/ 505377 h 712477"/>
                <a:gd name="connsiteX7" fmla="*/ 997299 w 1046714"/>
                <a:gd name="connsiteY7" fmla="*/ 368542 h 712477"/>
                <a:gd name="connsiteX8" fmla="*/ 912734 w 1046714"/>
                <a:gd name="connsiteY8" fmla="*/ 308229 h 712477"/>
                <a:gd name="connsiteX9" fmla="*/ 855470 w 1046714"/>
                <a:gd name="connsiteY9" fmla="*/ 134039 h 712477"/>
                <a:gd name="connsiteX10" fmla="*/ 666127 w 1046714"/>
                <a:gd name="connsiteY10" fmla="*/ 125445 h 712477"/>
                <a:gd name="connsiteX11" fmla="*/ 430582 w 1046714"/>
                <a:gd name="connsiteY11" fmla="*/ 43 h 712477"/>
                <a:gd name="connsiteX12" fmla="*/ 225432 w 1046714"/>
                <a:gd name="connsiteY12" fmla="*/ 87815 h 712477"/>
                <a:gd name="connsiteX13" fmla="*/ 147467 w 1046714"/>
                <a:gd name="connsiteY13" fmla="*/ 253644 h 712477"/>
                <a:gd name="connsiteX14" fmla="*/ 40364 w 1046714"/>
                <a:gd name="connsiteY14" fmla="*/ 360854 h 712477"/>
                <a:gd name="connsiteX15" fmla="*/ 34 w 1046714"/>
                <a:gd name="connsiteY15" fmla="*/ 474356 h 712477"/>
                <a:gd name="connsiteX16" fmla="*/ 52255 w 1046714"/>
                <a:gd name="connsiteY16" fmla="*/ 636184 h 712477"/>
                <a:gd name="connsiteX17" fmla="*/ 241308 w 1046714"/>
                <a:gd name="connsiteY17" fmla="*/ 711073 h 712477"/>
                <a:gd name="connsiteX0" fmla="*/ 241308 w 1046714"/>
                <a:gd name="connsiteY0" fmla="*/ 711033 h 712437"/>
                <a:gd name="connsiteX1" fmla="*/ 361719 w 1046714"/>
                <a:gd name="connsiteY1" fmla="*/ 712245 h 712437"/>
                <a:gd name="connsiteX2" fmla="*/ 537654 w 1046714"/>
                <a:gd name="connsiteY2" fmla="*/ 712298 h 712437"/>
                <a:gd name="connsiteX3" fmla="*/ 717134 w 1046714"/>
                <a:gd name="connsiteY3" fmla="*/ 711882 h 712437"/>
                <a:gd name="connsiteX4" fmla="*/ 836248 w 1046714"/>
                <a:gd name="connsiteY4" fmla="*/ 712437 h 712437"/>
                <a:gd name="connsiteX5" fmla="*/ 995381 w 1046714"/>
                <a:gd name="connsiteY5" fmla="*/ 637560 h 712437"/>
                <a:gd name="connsiteX6" fmla="*/ 1046697 w 1046714"/>
                <a:gd name="connsiteY6" fmla="*/ 505337 h 712437"/>
                <a:gd name="connsiteX7" fmla="*/ 997299 w 1046714"/>
                <a:gd name="connsiteY7" fmla="*/ 368502 h 712437"/>
                <a:gd name="connsiteX8" fmla="*/ 912734 w 1046714"/>
                <a:gd name="connsiteY8" fmla="*/ 308189 h 712437"/>
                <a:gd name="connsiteX9" fmla="*/ 855470 w 1046714"/>
                <a:gd name="connsiteY9" fmla="*/ 133999 h 712437"/>
                <a:gd name="connsiteX10" fmla="*/ 666127 w 1046714"/>
                <a:gd name="connsiteY10" fmla="*/ 125405 h 712437"/>
                <a:gd name="connsiteX11" fmla="*/ 430582 w 1046714"/>
                <a:gd name="connsiteY11" fmla="*/ 3 h 712437"/>
                <a:gd name="connsiteX12" fmla="*/ 225432 w 1046714"/>
                <a:gd name="connsiteY12" fmla="*/ 87775 h 712437"/>
                <a:gd name="connsiteX13" fmla="*/ 147467 w 1046714"/>
                <a:gd name="connsiteY13" fmla="*/ 253604 h 712437"/>
                <a:gd name="connsiteX14" fmla="*/ 40364 w 1046714"/>
                <a:gd name="connsiteY14" fmla="*/ 360814 h 712437"/>
                <a:gd name="connsiteX15" fmla="*/ 34 w 1046714"/>
                <a:gd name="connsiteY15" fmla="*/ 474316 h 712437"/>
                <a:gd name="connsiteX16" fmla="*/ 52255 w 1046714"/>
                <a:gd name="connsiteY16" fmla="*/ 636144 h 712437"/>
                <a:gd name="connsiteX17" fmla="*/ 241308 w 1046714"/>
                <a:gd name="connsiteY17" fmla="*/ 711033 h 712437"/>
                <a:gd name="connsiteX0" fmla="*/ 241390 w 1046796"/>
                <a:gd name="connsiteY0" fmla="*/ 711033 h 712437"/>
                <a:gd name="connsiteX1" fmla="*/ 361801 w 1046796"/>
                <a:gd name="connsiteY1" fmla="*/ 712245 h 712437"/>
                <a:gd name="connsiteX2" fmla="*/ 537736 w 1046796"/>
                <a:gd name="connsiteY2" fmla="*/ 712298 h 712437"/>
                <a:gd name="connsiteX3" fmla="*/ 717216 w 1046796"/>
                <a:gd name="connsiteY3" fmla="*/ 711882 h 712437"/>
                <a:gd name="connsiteX4" fmla="*/ 836330 w 1046796"/>
                <a:gd name="connsiteY4" fmla="*/ 712437 h 712437"/>
                <a:gd name="connsiteX5" fmla="*/ 995463 w 1046796"/>
                <a:gd name="connsiteY5" fmla="*/ 637560 h 712437"/>
                <a:gd name="connsiteX6" fmla="*/ 1046779 w 1046796"/>
                <a:gd name="connsiteY6" fmla="*/ 505337 h 712437"/>
                <a:gd name="connsiteX7" fmla="*/ 997381 w 1046796"/>
                <a:gd name="connsiteY7" fmla="*/ 368502 h 712437"/>
                <a:gd name="connsiteX8" fmla="*/ 912816 w 1046796"/>
                <a:gd name="connsiteY8" fmla="*/ 308189 h 712437"/>
                <a:gd name="connsiteX9" fmla="*/ 855552 w 1046796"/>
                <a:gd name="connsiteY9" fmla="*/ 133999 h 712437"/>
                <a:gd name="connsiteX10" fmla="*/ 666209 w 1046796"/>
                <a:gd name="connsiteY10" fmla="*/ 125405 h 712437"/>
                <a:gd name="connsiteX11" fmla="*/ 430664 w 1046796"/>
                <a:gd name="connsiteY11" fmla="*/ 3 h 712437"/>
                <a:gd name="connsiteX12" fmla="*/ 225514 w 1046796"/>
                <a:gd name="connsiteY12" fmla="*/ 87775 h 712437"/>
                <a:gd name="connsiteX13" fmla="*/ 147549 w 1046796"/>
                <a:gd name="connsiteY13" fmla="*/ 253604 h 712437"/>
                <a:gd name="connsiteX14" fmla="*/ 26471 w 1046796"/>
                <a:gd name="connsiteY14" fmla="*/ 363434 h 712437"/>
                <a:gd name="connsiteX15" fmla="*/ 116 w 1046796"/>
                <a:gd name="connsiteY15" fmla="*/ 474316 h 712437"/>
                <a:gd name="connsiteX16" fmla="*/ 52337 w 1046796"/>
                <a:gd name="connsiteY16" fmla="*/ 636144 h 712437"/>
                <a:gd name="connsiteX17" fmla="*/ 241390 w 1046796"/>
                <a:gd name="connsiteY17" fmla="*/ 711033 h 712437"/>
                <a:gd name="connsiteX0" fmla="*/ 241390 w 1046796"/>
                <a:gd name="connsiteY0" fmla="*/ 711033 h 712437"/>
                <a:gd name="connsiteX1" fmla="*/ 361801 w 1046796"/>
                <a:gd name="connsiteY1" fmla="*/ 712245 h 712437"/>
                <a:gd name="connsiteX2" fmla="*/ 537736 w 1046796"/>
                <a:gd name="connsiteY2" fmla="*/ 712298 h 712437"/>
                <a:gd name="connsiteX3" fmla="*/ 717216 w 1046796"/>
                <a:gd name="connsiteY3" fmla="*/ 711882 h 712437"/>
                <a:gd name="connsiteX4" fmla="*/ 836330 w 1046796"/>
                <a:gd name="connsiteY4" fmla="*/ 712437 h 712437"/>
                <a:gd name="connsiteX5" fmla="*/ 995463 w 1046796"/>
                <a:gd name="connsiteY5" fmla="*/ 637560 h 712437"/>
                <a:gd name="connsiteX6" fmla="*/ 1046779 w 1046796"/>
                <a:gd name="connsiteY6" fmla="*/ 505337 h 712437"/>
                <a:gd name="connsiteX7" fmla="*/ 997381 w 1046796"/>
                <a:gd name="connsiteY7" fmla="*/ 368502 h 712437"/>
                <a:gd name="connsiteX8" fmla="*/ 912816 w 1046796"/>
                <a:gd name="connsiteY8" fmla="*/ 308189 h 712437"/>
                <a:gd name="connsiteX9" fmla="*/ 855552 w 1046796"/>
                <a:gd name="connsiteY9" fmla="*/ 133999 h 712437"/>
                <a:gd name="connsiteX10" fmla="*/ 666209 w 1046796"/>
                <a:gd name="connsiteY10" fmla="*/ 125405 h 712437"/>
                <a:gd name="connsiteX11" fmla="*/ 430664 w 1046796"/>
                <a:gd name="connsiteY11" fmla="*/ 3 h 712437"/>
                <a:gd name="connsiteX12" fmla="*/ 225514 w 1046796"/>
                <a:gd name="connsiteY12" fmla="*/ 87775 h 712437"/>
                <a:gd name="connsiteX13" fmla="*/ 147549 w 1046796"/>
                <a:gd name="connsiteY13" fmla="*/ 253604 h 712437"/>
                <a:gd name="connsiteX14" fmla="*/ 26471 w 1046796"/>
                <a:gd name="connsiteY14" fmla="*/ 363434 h 712437"/>
                <a:gd name="connsiteX15" fmla="*/ 116 w 1046796"/>
                <a:gd name="connsiteY15" fmla="*/ 474316 h 712437"/>
                <a:gd name="connsiteX16" fmla="*/ 63691 w 1046796"/>
                <a:gd name="connsiteY16" fmla="*/ 635271 h 712437"/>
                <a:gd name="connsiteX17" fmla="*/ 241390 w 1046796"/>
                <a:gd name="connsiteY17" fmla="*/ 711033 h 712437"/>
                <a:gd name="connsiteX0" fmla="*/ 241275 w 1046681"/>
                <a:gd name="connsiteY0" fmla="*/ 711033 h 712437"/>
                <a:gd name="connsiteX1" fmla="*/ 361686 w 1046681"/>
                <a:gd name="connsiteY1" fmla="*/ 712245 h 712437"/>
                <a:gd name="connsiteX2" fmla="*/ 537621 w 1046681"/>
                <a:gd name="connsiteY2" fmla="*/ 712298 h 712437"/>
                <a:gd name="connsiteX3" fmla="*/ 717101 w 1046681"/>
                <a:gd name="connsiteY3" fmla="*/ 711882 h 712437"/>
                <a:gd name="connsiteX4" fmla="*/ 836215 w 1046681"/>
                <a:gd name="connsiteY4" fmla="*/ 712437 h 712437"/>
                <a:gd name="connsiteX5" fmla="*/ 995348 w 1046681"/>
                <a:gd name="connsiteY5" fmla="*/ 637560 h 712437"/>
                <a:gd name="connsiteX6" fmla="*/ 1046664 w 1046681"/>
                <a:gd name="connsiteY6" fmla="*/ 505337 h 712437"/>
                <a:gd name="connsiteX7" fmla="*/ 997266 w 1046681"/>
                <a:gd name="connsiteY7" fmla="*/ 368502 h 712437"/>
                <a:gd name="connsiteX8" fmla="*/ 912701 w 1046681"/>
                <a:gd name="connsiteY8" fmla="*/ 308189 h 712437"/>
                <a:gd name="connsiteX9" fmla="*/ 855437 w 1046681"/>
                <a:gd name="connsiteY9" fmla="*/ 133999 h 712437"/>
                <a:gd name="connsiteX10" fmla="*/ 666094 w 1046681"/>
                <a:gd name="connsiteY10" fmla="*/ 125405 h 712437"/>
                <a:gd name="connsiteX11" fmla="*/ 430549 w 1046681"/>
                <a:gd name="connsiteY11" fmla="*/ 3 h 712437"/>
                <a:gd name="connsiteX12" fmla="*/ 225399 w 1046681"/>
                <a:gd name="connsiteY12" fmla="*/ 87775 h 712437"/>
                <a:gd name="connsiteX13" fmla="*/ 147434 w 1046681"/>
                <a:gd name="connsiteY13" fmla="*/ 253604 h 712437"/>
                <a:gd name="connsiteX14" fmla="*/ 26356 w 1046681"/>
                <a:gd name="connsiteY14" fmla="*/ 363434 h 712437"/>
                <a:gd name="connsiteX15" fmla="*/ 1 w 1046681"/>
                <a:gd name="connsiteY15" fmla="*/ 474316 h 712437"/>
                <a:gd name="connsiteX16" fmla="*/ 63576 w 1046681"/>
                <a:gd name="connsiteY16" fmla="*/ 635271 h 712437"/>
                <a:gd name="connsiteX17" fmla="*/ 241275 w 1046681"/>
                <a:gd name="connsiteY17" fmla="*/ 711033 h 712437"/>
                <a:gd name="connsiteX0" fmla="*/ 241275 w 1046681"/>
                <a:gd name="connsiteY0" fmla="*/ 711033 h 712437"/>
                <a:gd name="connsiteX1" fmla="*/ 361686 w 1046681"/>
                <a:gd name="connsiteY1" fmla="*/ 712245 h 712437"/>
                <a:gd name="connsiteX2" fmla="*/ 537621 w 1046681"/>
                <a:gd name="connsiteY2" fmla="*/ 712298 h 712437"/>
                <a:gd name="connsiteX3" fmla="*/ 717101 w 1046681"/>
                <a:gd name="connsiteY3" fmla="*/ 711882 h 712437"/>
                <a:gd name="connsiteX4" fmla="*/ 836215 w 1046681"/>
                <a:gd name="connsiteY4" fmla="*/ 712437 h 712437"/>
                <a:gd name="connsiteX5" fmla="*/ 995348 w 1046681"/>
                <a:gd name="connsiteY5" fmla="*/ 637560 h 712437"/>
                <a:gd name="connsiteX6" fmla="*/ 1046664 w 1046681"/>
                <a:gd name="connsiteY6" fmla="*/ 505337 h 712437"/>
                <a:gd name="connsiteX7" fmla="*/ 997266 w 1046681"/>
                <a:gd name="connsiteY7" fmla="*/ 368502 h 712437"/>
                <a:gd name="connsiteX8" fmla="*/ 912701 w 1046681"/>
                <a:gd name="connsiteY8" fmla="*/ 308189 h 712437"/>
                <a:gd name="connsiteX9" fmla="*/ 855437 w 1046681"/>
                <a:gd name="connsiteY9" fmla="*/ 133999 h 712437"/>
                <a:gd name="connsiteX10" fmla="*/ 666094 w 1046681"/>
                <a:gd name="connsiteY10" fmla="*/ 125405 h 712437"/>
                <a:gd name="connsiteX11" fmla="*/ 430549 w 1046681"/>
                <a:gd name="connsiteY11" fmla="*/ 3 h 712437"/>
                <a:gd name="connsiteX12" fmla="*/ 225399 w 1046681"/>
                <a:gd name="connsiteY12" fmla="*/ 87775 h 712437"/>
                <a:gd name="connsiteX13" fmla="*/ 147434 w 1046681"/>
                <a:gd name="connsiteY13" fmla="*/ 253604 h 712437"/>
                <a:gd name="connsiteX14" fmla="*/ 26356 w 1046681"/>
                <a:gd name="connsiteY14" fmla="*/ 363434 h 712437"/>
                <a:gd name="connsiteX15" fmla="*/ 1 w 1046681"/>
                <a:gd name="connsiteY15" fmla="*/ 474316 h 712437"/>
                <a:gd name="connsiteX16" fmla="*/ 63576 w 1046681"/>
                <a:gd name="connsiteY16" fmla="*/ 635271 h 712437"/>
                <a:gd name="connsiteX17" fmla="*/ 241275 w 1046681"/>
                <a:gd name="connsiteY17" fmla="*/ 711033 h 712437"/>
                <a:gd name="connsiteX0" fmla="*/ 241275 w 1046681"/>
                <a:gd name="connsiteY0" fmla="*/ 711033 h 712437"/>
                <a:gd name="connsiteX1" fmla="*/ 361686 w 1046681"/>
                <a:gd name="connsiteY1" fmla="*/ 712245 h 712437"/>
                <a:gd name="connsiteX2" fmla="*/ 537621 w 1046681"/>
                <a:gd name="connsiteY2" fmla="*/ 712298 h 712437"/>
                <a:gd name="connsiteX3" fmla="*/ 717101 w 1046681"/>
                <a:gd name="connsiteY3" fmla="*/ 711882 h 712437"/>
                <a:gd name="connsiteX4" fmla="*/ 836215 w 1046681"/>
                <a:gd name="connsiteY4" fmla="*/ 712437 h 712437"/>
                <a:gd name="connsiteX5" fmla="*/ 995348 w 1046681"/>
                <a:gd name="connsiteY5" fmla="*/ 637560 h 712437"/>
                <a:gd name="connsiteX6" fmla="*/ 1046664 w 1046681"/>
                <a:gd name="connsiteY6" fmla="*/ 505337 h 712437"/>
                <a:gd name="connsiteX7" fmla="*/ 997266 w 1046681"/>
                <a:gd name="connsiteY7" fmla="*/ 368502 h 712437"/>
                <a:gd name="connsiteX8" fmla="*/ 912701 w 1046681"/>
                <a:gd name="connsiteY8" fmla="*/ 308189 h 712437"/>
                <a:gd name="connsiteX9" fmla="*/ 855437 w 1046681"/>
                <a:gd name="connsiteY9" fmla="*/ 133999 h 712437"/>
                <a:gd name="connsiteX10" fmla="*/ 666094 w 1046681"/>
                <a:gd name="connsiteY10" fmla="*/ 125405 h 712437"/>
                <a:gd name="connsiteX11" fmla="*/ 430549 w 1046681"/>
                <a:gd name="connsiteY11" fmla="*/ 3 h 712437"/>
                <a:gd name="connsiteX12" fmla="*/ 225399 w 1046681"/>
                <a:gd name="connsiteY12" fmla="*/ 87775 h 712437"/>
                <a:gd name="connsiteX13" fmla="*/ 147434 w 1046681"/>
                <a:gd name="connsiteY13" fmla="*/ 253604 h 712437"/>
                <a:gd name="connsiteX14" fmla="*/ 26356 w 1046681"/>
                <a:gd name="connsiteY14" fmla="*/ 363434 h 712437"/>
                <a:gd name="connsiteX15" fmla="*/ 1 w 1046681"/>
                <a:gd name="connsiteY15" fmla="*/ 474316 h 712437"/>
                <a:gd name="connsiteX16" fmla="*/ 63576 w 1046681"/>
                <a:gd name="connsiteY16" fmla="*/ 635271 h 712437"/>
                <a:gd name="connsiteX17" fmla="*/ 241275 w 1046681"/>
                <a:gd name="connsiteY17" fmla="*/ 711033 h 712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46681" h="712437">
                  <a:moveTo>
                    <a:pt x="241275" y="711033"/>
                  </a:moveTo>
                  <a:lnTo>
                    <a:pt x="361686" y="712245"/>
                  </a:lnTo>
                  <a:lnTo>
                    <a:pt x="537621" y="712298"/>
                  </a:lnTo>
                  <a:lnTo>
                    <a:pt x="717101" y="711882"/>
                  </a:lnTo>
                  <a:lnTo>
                    <a:pt x="836215" y="712437"/>
                  </a:lnTo>
                  <a:cubicBezTo>
                    <a:pt x="904644" y="711110"/>
                    <a:pt x="966464" y="671120"/>
                    <a:pt x="995348" y="637560"/>
                  </a:cubicBezTo>
                  <a:cubicBezTo>
                    <a:pt x="1034713" y="591772"/>
                    <a:pt x="1047218" y="542319"/>
                    <a:pt x="1046664" y="505337"/>
                  </a:cubicBezTo>
                  <a:cubicBezTo>
                    <a:pt x="1046110" y="468355"/>
                    <a:pt x="1040335" y="425433"/>
                    <a:pt x="997266" y="368502"/>
                  </a:cubicBezTo>
                  <a:cubicBezTo>
                    <a:pt x="972350" y="335567"/>
                    <a:pt x="951905" y="323810"/>
                    <a:pt x="912701" y="308189"/>
                  </a:cubicBezTo>
                  <a:cubicBezTo>
                    <a:pt x="929868" y="246998"/>
                    <a:pt x="909478" y="172279"/>
                    <a:pt x="855437" y="133999"/>
                  </a:cubicBezTo>
                  <a:cubicBezTo>
                    <a:pt x="785292" y="84312"/>
                    <a:pt x="717839" y="91005"/>
                    <a:pt x="666094" y="125405"/>
                  </a:cubicBezTo>
                  <a:cubicBezTo>
                    <a:pt x="626298" y="50154"/>
                    <a:pt x="522840" y="381"/>
                    <a:pt x="430549" y="3"/>
                  </a:cubicBezTo>
                  <a:cubicBezTo>
                    <a:pt x="342631" y="-357"/>
                    <a:pt x="269895" y="41952"/>
                    <a:pt x="225399" y="87775"/>
                  </a:cubicBezTo>
                  <a:cubicBezTo>
                    <a:pt x="180903" y="133598"/>
                    <a:pt x="154768" y="188224"/>
                    <a:pt x="147434" y="253604"/>
                  </a:cubicBezTo>
                  <a:cubicBezTo>
                    <a:pt x="68317" y="294504"/>
                    <a:pt x="49549" y="325866"/>
                    <a:pt x="26356" y="363434"/>
                  </a:cubicBezTo>
                  <a:cubicBezTo>
                    <a:pt x="3163" y="401002"/>
                    <a:pt x="-40" y="440118"/>
                    <a:pt x="1" y="474316"/>
                  </a:cubicBezTo>
                  <a:cubicBezTo>
                    <a:pt x="78" y="538504"/>
                    <a:pt x="21324" y="591008"/>
                    <a:pt x="63576" y="635271"/>
                  </a:cubicBezTo>
                  <a:cubicBezTo>
                    <a:pt x="110682" y="684619"/>
                    <a:pt x="168011" y="712348"/>
                    <a:pt x="241275" y="711033"/>
                  </a:cubicBezTo>
                  <a:close/>
                </a:path>
              </a:pathLst>
            </a:cu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0E97591B-7150-45EC-90C5-0867ABF4D67E}"/>
                </a:ext>
              </a:extLst>
            </p:cNvPr>
            <p:cNvGrpSpPr/>
            <p:nvPr/>
          </p:nvGrpSpPr>
          <p:grpSpPr>
            <a:xfrm>
              <a:off x="5210304" y="3391948"/>
              <a:ext cx="626400" cy="715838"/>
              <a:chOff x="3216275" y="836612"/>
              <a:chExt cx="2592389" cy="3455987"/>
            </a:xfrm>
            <a:solidFill>
              <a:schemeClr val="bg1"/>
            </a:solidFill>
          </p:grpSpPr>
          <p:sp>
            <p:nvSpPr>
              <p:cNvPr id="80" name="Can 78">
                <a:extLst>
                  <a:ext uri="{FF2B5EF4-FFF2-40B4-BE49-F238E27FC236}">
                    <a16:creationId xmlns:a16="http://schemas.microsoft.com/office/drawing/2014/main" id="{B29CCB53-4079-4891-9BD8-8CB1B867C4AC}"/>
                  </a:ext>
                </a:extLst>
              </p:cNvPr>
              <p:cNvSpPr/>
              <p:nvPr/>
            </p:nvSpPr>
            <p:spPr>
              <a:xfrm>
                <a:off x="3216276" y="836612"/>
                <a:ext cx="2592388" cy="3455987"/>
              </a:xfrm>
              <a:prstGeom prst="can">
                <a:avLst>
                  <a:gd name="adj" fmla="val 29149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1" name="Arc 80">
                <a:extLst>
                  <a:ext uri="{FF2B5EF4-FFF2-40B4-BE49-F238E27FC236}">
                    <a16:creationId xmlns:a16="http://schemas.microsoft.com/office/drawing/2014/main" id="{6B51B95B-55D9-4E0D-B057-7B0A61D3172C}"/>
                  </a:ext>
                </a:extLst>
              </p:cNvPr>
              <p:cNvSpPr/>
              <p:nvPr/>
            </p:nvSpPr>
            <p:spPr>
              <a:xfrm flipV="1">
                <a:off x="3216276" y="1700210"/>
                <a:ext cx="2592388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2" name="Arc 81">
                <a:extLst>
                  <a:ext uri="{FF2B5EF4-FFF2-40B4-BE49-F238E27FC236}">
                    <a16:creationId xmlns:a16="http://schemas.microsoft.com/office/drawing/2014/main" id="{85F104F3-AEC1-4E8C-AAD2-7CBE336E9E77}"/>
                  </a:ext>
                </a:extLst>
              </p:cNvPr>
              <p:cNvSpPr/>
              <p:nvPr/>
            </p:nvSpPr>
            <p:spPr>
              <a:xfrm flipV="1">
                <a:off x="3216275" y="2563807"/>
                <a:ext cx="2591593" cy="865189"/>
              </a:xfrm>
              <a:prstGeom prst="arc">
                <a:avLst>
                  <a:gd name="adj1" fmla="val 10751917"/>
                  <a:gd name="adj2" fmla="val 21547783"/>
                </a:avLst>
              </a:prstGeom>
              <a:grpFill/>
              <a:ln w="31750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C7572E6-4BCC-49B0-A8FE-02C8B6BB6FAD}"/>
                </a:ext>
              </a:extLst>
            </p:cNvPr>
            <p:cNvGrpSpPr/>
            <p:nvPr/>
          </p:nvGrpSpPr>
          <p:grpSpPr>
            <a:xfrm>
              <a:off x="5672779" y="3174723"/>
              <a:ext cx="317726" cy="423085"/>
              <a:chOff x="2782887" y="1415557"/>
              <a:chExt cx="2160587" cy="2877044"/>
            </a:xfrm>
            <a:solidFill>
              <a:schemeClr val="bg1"/>
            </a:solidFill>
          </p:grpSpPr>
          <p:sp>
            <p:nvSpPr>
              <p:cNvPr id="78" name="Rounded Rectangle 76">
                <a:extLst>
                  <a:ext uri="{FF2B5EF4-FFF2-40B4-BE49-F238E27FC236}">
                    <a16:creationId xmlns:a16="http://schemas.microsoft.com/office/drawing/2014/main" id="{6E44E2D0-1C8B-475C-9762-B9CF3FD9FC66}"/>
                  </a:ext>
                </a:extLst>
              </p:cNvPr>
              <p:cNvSpPr/>
              <p:nvPr/>
            </p:nvSpPr>
            <p:spPr>
              <a:xfrm>
                <a:off x="2782887" y="2565401"/>
                <a:ext cx="2160587" cy="1727200"/>
              </a:xfrm>
              <a:prstGeom prst="roundRect">
                <a:avLst>
                  <a:gd name="adj" fmla="val 8999"/>
                </a:avLst>
              </a:prstGeom>
              <a:grpFill/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9" name="Freeform 77">
                <a:extLst>
                  <a:ext uri="{FF2B5EF4-FFF2-40B4-BE49-F238E27FC236}">
                    <a16:creationId xmlns:a16="http://schemas.microsoft.com/office/drawing/2014/main" id="{92DE5764-A676-4D0D-B97A-5AA1371A3F8D}"/>
                  </a:ext>
                </a:extLst>
              </p:cNvPr>
              <p:cNvSpPr/>
              <p:nvPr/>
            </p:nvSpPr>
            <p:spPr>
              <a:xfrm>
                <a:off x="2993814" y="1415557"/>
                <a:ext cx="1738731" cy="1154213"/>
              </a:xfrm>
              <a:custGeom>
                <a:avLst/>
                <a:gdLst>
                  <a:gd name="connsiteX0" fmla="*/ 112095 w 2757827"/>
                  <a:gd name="connsiteY0" fmla="*/ 1717675 h 1774913"/>
                  <a:gd name="connsiteX1" fmla="*/ 115270 w 2757827"/>
                  <a:gd name="connsiteY1" fmla="*/ 1289050 h 1774913"/>
                  <a:gd name="connsiteX2" fmla="*/ 1407495 w 2757827"/>
                  <a:gd name="connsiteY2" fmla="*/ 0 h 1774913"/>
                  <a:gd name="connsiteX3" fmla="*/ 2648920 w 2757827"/>
                  <a:gd name="connsiteY3" fmla="*/ 1289050 h 1774913"/>
                  <a:gd name="connsiteX4" fmla="*/ 2652095 w 2757827"/>
                  <a:gd name="connsiteY4" fmla="*/ 1724025 h 1774913"/>
                  <a:gd name="connsiteX5" fmla="*/ 2271095 w 2757827"/>
                  <a:gd name="connsiteY5" fmla="*/ 1711325 h 1774913"/>
                  <a:gd name="connsiteX6" fmla="*/ 2277445 w 2757827"/>
                  <a:gd name="connsiteY6" fmla="*/ 1285875 h 1774913"/>
                  <a:gd name="connsiteX7" fmla="*/ 1404320 w 2757827"/>
                  <a:gd name="connsiteY7" fmla="*/ 412750 h 1774913"/>
                  <a:gd name="connsiteX8" fmla="*/ 543895 w 2757827"/>
                  <a:gd name="connsiteY8" fmla="*/ 1289050 h 1774913"/>
                  <a:gd name="connsiteX9" fmla="*/ 550245 w 2757827"/>
                  <a:gd name="connsiteY9" fmla="*/ 1724025 h 1774913"/>
                  <a:gd name="connsiteX10" fmla="*/ 112095 w 2757827"/>
                  <a:gd name="connsiteY10" fmla="*/ 1717675 h 1774913"/>
                  <a:gd name="connsiteX0" fmla="*/ 110264 w 2757839"/>
                  <a:gd name="connsiteY0" fmla="*/ 1717675 h 1774913"/>
                  <a:gd name="connsiteX1" fmla="*/ 113439 w 2757839"/>
                  <a:gd name="connsiteY1" fmla="*/ 1289050 h 1774913"/>
                  <a:gd name="connsiteX2" fmla="*/ 1380264 w 2757839"/>
                  <a:gd name="connsiteY2" fmla="*/ 0 h 1774913"/>
                  <a:gd name="connsiteX3" fmla="*/ 2647089 w 2757839"/>
                  <a:gd name="connsiteY3" fmla="*/ 1289050 h 1774913"/>
                  <a:gd name="connsiteX4" fmla="*/ 2650264 w 2757839"/>
                  <a:gd name="connsiteY4" fmla="*/ 1724025 h 1774913"/>
                  <a:gd name="connsiteX5" fmla="*/ 2269264 w 2757839"/>
                  <a:gd name="connsiteY5" fmla="*/ 1711325 h 1774913"/>
                  <a:gd name="connsiteX6" fmla="*/ 2275614 w 2757839"/>
                  <a:gd name="connsiteY6" fmla="*/ 1285875 h 1774913"/>
                  <a:gd name="connsiteX7" fmla="*/ 1402489 w 2757839"/>
                  <a:gd name="connsiteY7" fmla="*/ 412750 h 1774913"/>
                  <a:gd name="connsiteX8" fmla="*/ 542064 w 2757839"/>
                  <a:gd name="connsiteY8" fmla="*/ 1289050 h 1774913"/>
                  <a:gd name="connsiteX9" fmla="*/ 548414 w 2757839"/>
                  <a:gd name="connsiteY9" fmla="*/ 1724025 h 1774913"/>
                  <a:gd name="connsiteX10" fmla="*/ 110264 w 2757839"/>
                  <a:gd name="connsiteY10" fmla="*/ 1717675 h 1774913"/>
                  <a:gd name="connsiteX0" fmla="*/ 110264 w 2785808"/>
                  <a:gd name="connsiteY0" fmla="*/ 1717675 h 1774913"/>
                  <a:gd name="connsiteX1" fmla="*/ 113439 w 2785808"/>
                  <a:gd name="connsiteY1" fmla="*/ 1289050 h 1774913"/>
                  <a:gd name="connsiteX2" fmla="*/ 1380264 w 2785808"/>
                  <a:gd name="connsiteY2" fmla="*/ 0 h 1774913"/>
                  <a:gd name="connsiteX3" fmla="*/ 2685189 w 2785808"/>
                  <a:gd name="connsiteY3" fmla="*/ 1295400 h 1774913"/>
                  <a:gd name="connsiteX4" fmla="*/ 2650264 w 2785808"/>
                  <a:gd name="connsiteY4" fmla="*/ 1724025 h 1774913"/>
                  <a:gd name="connsiteX5" fmla="*/ 2269264 w 2785808"/>
                  <a:gd name="connsiteY5" fmla="*/ 1711325 h 1774913"/>
                  <a:gd name="connsiteX6" fmla="*/ 2275614 w 2785808"/>
                  <a:gd name="connsiteY6" fmla="*/ 1285875 h 1774913"/>
                  <a:gd name="connsiteX7" fmla="*/ 1402489 w 2785808"/>
                  <a:gd name="connsiteY7" fmla="*/ 412750 h 1774913"/>
                  <a:gd name="connsiteX8" fmla="*/ 542064 w 2785808"/>
                  <a:gd name="connsiteY8" fmla="*/ 1289050 h 1774913"/>
                  <a:gd name="connsiteX9" fmla="*/ 548414 w 2785808"/>
                  <a:gd name="connsiteY9" fmla="*/ 1724025 h 1774913"/>
                  <a:gd name="connsiteX10" fmla="*/ 110264 w 2785808"/>
                  <a:gd name="connsiteY10" fmla="*/ 1717675 h 1774913"/>
                  <a:gd name="connsiteX0" fmla="*/ 110264 w 2801804"/>
                  <a:gd name="connsiteY0" fmla="*/ 1717675 h 1775348"/>
                  <a:gd name="connsiteX1" fmla="*/ 113439 w 2801804"/>
                  <a:gd name="connsiteY1" fmla="*/ 1289050 h 1775348"/>
                  <a:gd name="connsiteX2" fmla="*/ 1380264 w 2801804"/>
                  <a:gd name="connsiteY2" fmla="*/ 0 h 1775348"/>
                  <a:gd name="connsiteX3" fmla="*/ 2685189 w 2801804"/>
                  <a:gd name="connsiteY3" fmla="*/ 1295400 h 1775348"/>
                  <a:gd name="connsiteX4" fmla="*/ 2691539 w 2801804"/>
                  <a:gd name="connsiteY4" fmla="*/ 1730375 h 1775348"/>
                  <a:gd name="connsiteX5" fmla="*/ 2269264 w 2801804"/>
                  <a:gd name="connsiteY5" fmla="*/ 1711325 h 1775348"/>
                  <a:gd name="connsiteX6" fmla="*/ 2275614 w 2801804"/>
                  <a:gd name="connsiteY6" fmla="*/ 1285875 h 1775348"/>
                  <a:gd name="connsiteX7" fmla="*/ 1402489 w 2801804"/>
                  <a:gd name="connsiteY7" fmla="*/ 412750 h 1775348"/>
                  <a:gd name="connsiteX8" fmla="*/ 542064 w 2801804"/>
                  <a:gd name="connsiteY8" fmla="*/ 1289050 h 1775348"/>
                  <a:gd name="connsiteX9" fmla="*/ 548414 w 2801804"/>
                  <a:gd name="connsiteY9" fmla="*/ 1724025 h 1775348"/>
                  <a:gd name="connsiteX10" fmla="*/ 110264 w 2801804"/>
                  <a:gd name="connsiteY10" fmla="*/ 1717675 h 1775348"/>
                  <a:gd name="connsiteX0" fmla="*/ 110264 w 2803173"/>
                  <a:gd name="connsiteY0" fmla="*/ 1717675 h 1781835"/>
                  <a:gd name="connsiteX1" fmla="*/ 113439 w 2803173"/>
                  <a:gd name="connsiteY1" fmla="*/ 1289050 h 1781835"/>
                  <a:gd name="connsiteX2" fmla="*/ 1380264 w 2803173"/>
                  <a:gd name="connsiteY2" fmla="*/ 0 h 1781835"/>
                  <a:gd name="connsiteX3" fmla="*/ 2685189 w 2803173"/>
                  <a:gd name="connsiteY3" fmla="*/ 1295400 h 1781835"/>
                  <a:gd name="connsiteX4" fmla="*/ 2691539 w 2803173"/>
                  <a:gd name="connsiteY4" fmla="*/ 1730375 h 1781835"/>
                  <a:gd name="connsiteX5" fmla="*/ 2240689 w 2803173"/>
                  <a:gd name="connsiteY5" fmla="*/ 1724025 h 1781835"/>
                  <a:gd name="connsiteX6" fmla="*/ 2275614 w 2803173"/>
                  <a:gd name="connsiteY6" fmla="*/ 1285875 h 1781835"/>
                  <a:gd name="connsiteX7" fmla="*/ 1402489 w 2803173"/>
                  <a:gd name="connsiteY7" fmla="*/ 412750 h 1781835"/>
                  <a:gd name="connsiteX8" fmla="*/ 542064 w 2803173"/>
                  <a:gd name="connsiteY8" fmla="*/ 1289050 h 1781835"/>
                  <a:gd name="connsiteX9" fmla="*/ 548414 w 2803173"/>
                  <a:gd name="connsiteY9" fmla="*/ 1724025 h 1781835"/>
                  <a:gd name="connsiteX10" fmla="*/ 110264 w 2803173"/>
                  <a:gd name="connsiteY10" fmla="*/ 1717675 h 1781835"/>
                  <a:gd name="connsiteX0" fmla="*/ 110264 w 2803173"/>
                  <a:gd name="connsiteY0" fmla="*/ 1717675 h 1781453"/>
                  <a:gd name="connsiteX1" fmla="*/ 113439 w 2803173"/>
                  <a:gd name="connsiteY1" fmla="*/ 1289050 h 1781453"/>
                  <a:gd name="connsiteX2" fmla="*/ 1380264 w 2803173"/>
                  <a:gd name="connsiteY2" fmla="*/ 0 h 1781453"/>
                  <a:gd name="connsiteX3" fmla="*/ 2685189 w 2803173"/>
                  <a:gd name="connsiteY3" fmla="*/ 1295400 h 1781453"/>
                  <a:gd name="connsiteX4" fmla="*/ 2691539 w 2803173"/>
                  <a:gd name="connsiteY4" fmla="*/ 1730375 h 1781453"/>
                  <a:gd name="connsiteX5" fmla="*/ 2240689 w 2803173"/>
                  <a:gd name="connsiteY5" fmla="*/ 1724025 h 1781453"/>
                  <a:gd name="connsiteX6" fmla="*/ 2262914 w 2803173"/>
                  <a:gd name="connsiteY6" fmla="*/ 1292225 h 1781453"/>
                  <a:gd name="connsiteX7" fmla="*/ 1402489 w 2803173"/>
                  <a:gd name="connsiteY7" fmla="*/ 412750 h 1781453"/>
                  <a:gd name="connsiteX8" fmla="*/ 542064 w 2803173"/>
                  <a:gd name="connsiteY8" fmla="*/ 1289050 h 1781453"/>
                  <a:gd name="connsiteX9" fmla="*/ 548414 w 2803173"/>
                  <a:gd name="connsiteY9" fmla="*/ 1724025 h 1781453"/>
                  <a:gd name="connsiteX10" fmla="*/ 110264 w 2803173"/>
                  <a:gd name="connsiteY10" fmla="*/ 1717675 h 1781453"/>
                  <a:gd name="connsiteX0" fmla="*/ 128453 w 2821362"/>
                  <a:gd name="connsiteY0" fmla="*/ 1717675 h 1781453"/>
                  <a:gd name="connsiteX1" fmla="*/ 106228 w 2821362"/>
                  <a:gd name="connsiteY1" fmla="*/ 1292225 h 1781453"/>
                  <a:gd name="connsiteX2" fmla="*/ 1398453 w 2821362"/>
                  <a:gd name="connsiteY2" fmla="*/ 0 h 1781453"/>
                  <a:gd name="connsiteX3" fmla="*/ 2703378 w 2821362"/>
                  <a:gd name="connsiteY3" fmla="*/ 1295400 h 1781453"/>
                  <a:gd name="connsiteX4" fmla="*/ 2709728 w 2821362"/>
                  <a:gd name="connsiteY4" fmla="*/ 1730375 h 1781453"/>
                  <a:gd name="connsiteX5" fmla="*/ 2258878 w 2821362"/>
                  <a:gd name="connsiteY5" fmla="*/ 1724025 h 1781453"/>
                  <a:gd name="connsiteX6" fmla="*/ 2281103 w 2821362"/>
                  <a:gd name="connsiteY6" fmla="*/ 1292225 h 1781453"/>
                  <a:gd name="connsiteX7" fmla="*/ 1420678 w 2821362"/>
                  <a:gd name="connsiteY7" fmla="*/ 412750 h 1781453"/>
                  <a:gd name="connsiteX8" fmla="*/ 560253 w 2821362"/>
                  <a:gd name="connsiteY8" fmla="*/ 1289050 h 1781453"/>
                  <a:gd name="connsiteX9" fmla="*/ 566603 w 2821362"/>
                  <a:gd name="connsiteY9" fmla="*/ 1724025 h 1781453"/>
                  <a:gd name="connsiteX10" fmla="*/ 128453 w 2821362"/>
                  <a:gd name="connsiteY10" fmla="*/ 1717675 h 1781453"/>
                  <a:gd name="connsiteX0" fmla="*/ 113309 w 2831618"/>
                  <a:gd name="connsiteY0" fmla="*/ 1730375 h 1781849"/>
                  <a:gd name="connsiteX1" fmla="*/ 116484 w 2831618"/>
                  <a:gd name="connsiteY1" fmla="*/ 1292225 h 1781849"/>
                  <a:gd name="connsiteX2" fmla="*/ 1408709 w 2831618"/>
                  <a:gd name="connsiteY2" fmla="*/ 0 h 1781849"/>
                  <a:gd name="connsiteX3" fmla="*/ 2713634 w 2831618"/>
                  <a:gd name="connsiteY3" fmla="*/ 1295400 h 1781849"/>
                  <a:gd name="connsiteX4" fmla="*/ 2719984 w 2831618"/>
                  <a:gd name="connsiteY4" fmla="*/ 1730375 h 1781849"/>
                  <a:gd name="connsiteX5" fmla="*/ 2269134 w 2831618"/>
                  <a:gd name="connsiteY5" fmla="*/ 1724025 h 1781849"/>
                  <a:gd name="connsiteX6" fmla="*/ 2291359 w 2831618"/>
                  <a:gd name="connsiteY6" fmla="*/ 1292225 h 1781849"/>
                  <a:gd name="connsiteX7" fmla="*/ 1430934 w 2831618"/>
                  <a:gd name="connsiteY7" fmla="*/ 412750 h 1781849"/>
                  <a:gd name="connsiteX8" fmla="*/ 570509 w 2831618"/>
                  <a:gd name="connsiteY8" fmla="*/ 1289050 h 1781849"/>
                  <a:gd name="connsiteX9" fmla="*/ 576859 w 2831618"/>
                  <a:gd name="connsiteY9" fmla="*/ 1724025 h 1781849"/>
                  <a:gd name="connsiteX10" fmla="*/ 113309 w 2831618"/>
                  <a:gd name="connsiteY10" fmla="*/ 1730375 h 1781849"/>
                  <a:gd name="connsiteX0" fmla="*/ 111495 w 2829804"/>
                  <a:gd name="connsiteY0" fmla="*/ 1730375 h 1783574"/>
                  <a:gd name="connsiteX1" fmla="*/ 114670 w 2829804"/>
                  <a:gd name="connsiteY1" fmla="*/ 1292225 h 1783574"/>
                  <a:gd name="connsiteX2" fmla="*/ 1406895 w 2829804"/>
                  <a:gd name="connsiteY2" fmla="*/ 0 h 1783574"/>
                  <a:gd name="connsiteX3" fmla="*/ 2711820 w 2829804"/>
                  <a:gd name="connsiteY3" fmla="*/ 1295400 h 1783574"/>
                  <a:gd name="connsiteX4" fmla="*/ 2718170 w 2829804"/>
                  <a:gd name="connsiteY4" fmla="*/ 1730375 h 1783574"/>
                  <a:gd name="connsiteX5" fmla="*/ 2267320 w 2829804"/>
                  <a:gd name="connsiteY5" fmla="*/ 1724025 h 1783574"/>
                  <a:gd name="connsiteX6" fmla="*/ 2289545 w 2829804"/>
                  <a:gd name="connsiteY6" fmla="*/ 1292225 h 1783574"/>
                  <a:gd name="connsiteX7" fmla="*/ 1429120 w 2829804"/>
                  <a:gd name="connsiteY7" fmla="*/ 412750 h 1783574"/>
                  <a:gd name="connsiteX8" fmla="*/ 568695 w 2829804"/>
                  <a:gd name="connsiteY8" fmla="*/ 1289050 h 1783574"/>
                  <a:gd name="connsiteX9" fmla="*/ 536945 w 2829804"/>
                  <a:gd name="connsiteY9" fmla="*/ 1727200 h 1783574"/>
                  <a:gd name="connsiteX10" fmla="*/ 111495 w 2829804"/>
                  <a:gd name="connsiteY10" fmla="*/ 1730375 h 1783574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89545 w 2829804"/>
                  <a:gd name="connsiteY6" fmla="*/ 1292225 h 1783379"/>
                  <a:gd name="connsiteX7" fmla="*/ 1429120 w 2829804"/>
                  <a:gd name="connsiteY7" fmla="*/ 41275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89545 w 2829804"/>
                  <a:gd name="connsiteY6" fmla="*/ 1292225 h 1783379"/>
                  <a:gd name="connsiteX7" fmla="*/ 1429120 w 2829804"/>
                  <a:gd name="connsiteY7" fmla="*/ 41275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89545 w 2829804"/>
                  <a:gd name="connsiteY6" fmla="*/ 1292225 h 1783379"/>
                  <a:gd name="connsiteX7" fmla="*/ 1429120 w 2829804"/>
                  <a:gd name="connsiteY7" fmla="*/ 41275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89545 w 2829804"/>
                  <a:gd name="connsiteY6" fmla="*/ 1292225 h 1783379"/>
                  <a:gd name="connsiteX7" fmla="*/ 1429120 w 2829804"/>
                  <a:gd name="connsiteY7" fmla="*/ 41275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89545 w 2829804"/>
                  <a:gd name="connsiteY6" fmla="*/ 1292225 h 1783379"/>
                  <a:gd name="connsiteX7" fmla="*/ 1429120 w 2829804"/>
                  <a:gd name="connsiteY7" fmla="*/ 41275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48270 w 2829804"/>
                  <a:gd name="connsiteY6" fmla="*/ 1295400 h 1783379"/>
                  <a:gd name="connsiteX7" fmla="*/ 1429120 w 2829804"/>
                  <a:gd name="connsiteY7" fmla="*/ 41275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29120 w 2829804"/>
                  <a:gd name="connsiteY7" fmla="*/ 41275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3379"/>
                  <a:gd name="connsiteX1" fmla="*/ 114670 w 2829804"/>
                  <a:gd name="connsiteY1" fmla="*/ 1292225 h 1783379"/>
                  <a:gd name="connsiteX2" fmla="*/ 1406895 w 2829804"/>
                  <a:gd name="connsiteY2" fmla="*/ 0 h 1783379"/>
                  <a:gd name="connsiteX3" fmla="*/ 2711820 w 2829804"/>
                  <a:gd name="connsiteY3" fmla="*/ 1295400 h 1783379"/>
                  <a:gd name="connsiteX4" fmla="*/ 2718170 w 2829804"/>
                  <a:gd name="connsiteY4" fmla="*/ 1730375 h 1783379"/>
                  <a:gd name="connsiteX5" fmla="*/ 2267320 w 2829804"/>
                  <a:gd name="connsiteY5" fmla="*/ 1724025 h 1783379"/>
                  <a:gd name="connsiteX6" fmla="*/ 2276845 w 2829804"/>
                  <a:gd name="connsiteY6" fmla="*/ 1292225 h 1783379"/>
                  <a:gd name="connsiteX7" fmla="*/ 1410070 w 2829804"/>
                  <a:gd name="connsiteY7" fmla="*/ 431800 h 1783379"/>
                  <a:gd name="connsiteX8" fmla="*/ 543295 w 2829804"/>
                  <a:gd name="connsiteY8" fmla="*/ 1292225 h 1783379"/>
                  <a:gd name="connsiteX9" fmla="*/ 536945 w 2829804"/>
                  <a:gd name="connsiteY9" fmla="*/ 1727200 h 1783379"/>
                  <a:gd name="connsiteX10" fmla="*/ 111495 w 2829804"/>
                  <a:gd name="connsiteY10" fmla="*/ 1730375 h 1783379"/>
                  <a:gd name="connsiteX0" fmla="*/ 111495 w 2829804"/>
                  <a:gd name="connsiteY0" fmla="*/ 1730375 h 1781453"/>
                  <a:gd name="connsiteX1" fmla="*/ 114670 w 2829804"/>
                  <a:gd name="connsiteY1" fmla="*/ 1292225 h 1781453"/>
                  <a:gd name="connsiteX2" fmla="*/ 1406895 w 2829804"/>
                  <a:gd name="connsiteY2" fmla="*/ 0 h 1781453"/>
                  <a:gd name="connsiteX3" fmla="*/ 2711820 w 2829804"/>
                  <a:gd name="connsiteY3" fmla="*/ 1295400 h 1781453"/>
                  <a:gd name="connsiteX4" fmla="*/ 2718170 w 2829804"/>
                  <a:gd name="connsiteY4" fmla="*/ 1730375 h 1781453"/>
                  <a:gd name="connsiteX5" fmla="*/ 2267320 w 2829804"/>
                  <a:gd name="connsiteY5" fmla="*/ 1724025 h 1781453"/>
                  <a:gd name="connsiteX6" fmla="*/ 2276845 w 2829804"/>
                  <a:gd name="connsiteY6" fmla="*/ 1292225 h 1781453"/>
                  <a:gd name="connsiteX7" fmla="*/ 1410070 w 2829804"/>
                  <a:gd name="connsiteY7" fmla="*/ 431800 h 1781453"/>
                  <a:gd name="connsiteX8" fmla="*/ 543295 w 2829804"/>
                  <a:gd name="connsiteY8" fmla="*/ 1292225 h 1781453"/>
                  <a:gd name="connsiteX9" fmla="*/ 536945 w 2829804"/>
                  <a:gd name="connsiteY9" fmla="*/ 1727200 h 1781453"/>
                  <a:gd name="connsiteX10" fmla="*/ 111495 w 2829804"/>
                  <a:gd name="connsiteY10" fmla="*/ 1730375 h 1781453"/>
                  <a:gd name="connsiteX0" fmla="*/ 111495 w 2829804"/>
                  <a:gd name="connsiteY0" fmla="*/ 1730375 h 1781453"/>
                  <a:gd name="connsiteX1" fmla="*/ 114670 w 2829804"/>
                  <a:gd name="connsiteY1" fmla="*/ 1292225 h 1781453"/>
                  <a:gd name="connsiteX2" fmla="*/ 1406895 w 2829804"/>
                  <a:gd name="connsiteY2" fmla="*/ 0 h 1781453"/>
                  <a:gd name="connsiteX3" fmla="*/ 2711820 w 2829804"/>
                  <a:gd name="connsiteY3" fmla="*/ 1295400 h 1781453"/>
                  <a:gd name="connsiteX4" fmla="*/ 2718170 w 2829804"/>
                  <a:gd name="connsiteY4" fmla="*/ 1730375 h 1781453"/>
                  <a:gd name="connsiteX5" fmla="*/ 2267320 w 2829804"/>
                  <a:gd name="connsiteY5" fmla="*/ 1724025 h 1781453"/>
                  <a:gd name="connsiteX6" fmla="*/ 2276845 w 2829804"/>
                  <a:gd name="connsiteY6" fmla="*/ 1292225 h 1781453"/>
                  <a:gd name="connsiteX7" fmla="*/ 1410070 w 2829804"/>
                  <a:gd name="connsiteY7" fmla="*/ 431800 h 1781453"/>
                  <a:gd name="connsiteX8" fmla="*/ 543295 w 2829804"/>
                  <a:gd name="connsiteY8" fmla="*/ 1292225 h 1781453"/>
                  <a:gd name="connsiteX9" fmla="*/ 536945 w 2829804"/>
                  <a:gd name="connsiteY9" fmla="*/ 1727200 h 1781453"/>
                  <a:gd name="connsiteX10" fmla="*/ 111495 w 2829804"/>
                  <a:gd name="connsiteY10" fmla="*/ 1730375 h 1781453"/>
                  <a:gd name="connsiteX0" fmla="*/ 93017 w 2811326"/>
                  <a:gd name="connsiteY0" fmla="*/ 1730375 h 1781453"/>
                  <a:gd name="connsiteX1" fmla="*/ 96192 w 2811326"/>
                  <a:gd name="connsiteY1" fmla="*/ 1292225 h 1781453"/>
                  <a:gd name="connsiteX2" fmla="*/ 1388417 w 2811326"/>
                  <a:gd name="connsiteY2" fmla="*/ 0 h 1781453"/>
                  <a:gd name="connsiteX3" fmla="*/ 2693342 w 2811326"/>
                  <a:gd name="connsiteY3" fmla="*/ 1295400 h 1781453"/>
                  <a:gd name="connsiteX4" fmla="*/ 2699692 w 2811326"/>
                  <a:gd name="connsiteY4" fmla="*/ 1730375 h 1781453"/>
                  <a:gd name="connsiteX5" fmla="*/ 2248842 w 2811326"/>
                  <a:gd name="connsiteY5" fmla="*/ 1724025 h 1781453"/>
                  <a:gd name="connsiteX6" fmla="*/ 2258367 w 2811326"/>
                  <a:gd name="connsiteY6" fmla="*/ 1292225 h 1781453"/>
                  <a:gd name="connsiteX7" fmla="*/ 1391592 w 2811326"/>
                  <a:gd name="connsiteY7" fmla="*/ 431800 h 1781453"/>
                  <a:gd name="connsiteX8" fmla="*/ 524817 w 2811326"/>
                  <a:gd name="connsiteY8" fmla="*/ 1292225 h 1781453"/>
                  <a:gd name="connsiteX9" fmla="*/ 518467 w 2811326"/>
                  <a:gd name="connsiteY9" fmla="*/ 1727200 h 1781453"/>
                  <a:gd name="connsiteX10" fmla="*/ 93017 w 2811326"/>
                  <a:gd name="connsiteY10" fmla="*/ 1730375 h 1781453"/>
                  <a:gd name="connsiteX0" fmla="*/ 0 w 2718309"/>
                  <a:gd name="connsiteY0" fmla="*/ 1730375 h 1781453"/>
                  <a:gd name="connsiteX1" fmla="*/ 3175 w 2718309"/>
                  <a:gd name="connsiteY1" fmla="*/ 1292225 h 1781453"/>
                  <a:gd name="connsiteX2" fmla="*/ 1295400 w 2718309"/>
                  <a:gd name="connsiteY2" fmla="*/ 0 h 1781453"/>
                  <a:gd name="connsiteX3" fmla="*/ 2600325 w 2718309"/>
                  <a:gd name="connsiteY3" fmla="*/ 1295400 h 1781453"/>
                  <a:gd name="connsiteX4" fmla="*/ 2606675 w 2718309"/>
                  <a:gd name="connsiteY4" fmla="*/ 1730375 h 1781453"/>
                  <a:gd name="connsiteX5" fmla="*/ 2155825 w 2718309"/>
                  <a:gd name="connsiteY5" fmla="*/ 1724025 h 1781453"/>
                  <a:gd name="connsiteX6" fmla="*/ 2165350 w 2718309"/>
                  <a:gd name="connsiteY6" fmla="*/ 1292225 h 1781453"/>
                  <a:gd name="connsiteX7" fmla="*/ 1298575 w 2718309"/>
                  <a:gd name="connsiteY7" fmla="*/ 431800 h 1781453"/>
                  <a:gd name="connsiteX8" fmla="*/ 431800 w 2718309"/>
                  <a:gd name="connsiteY8" fmla="*/ 1292225 h 1781453"/>
                  <a:gd name="connsiteX9" fmla="*/ 425450 w 2718309"/>
                  <a:gd name="connsiteY9" fmla="*/ 1727200 h 1781453"/>
                  <a:gd name="connsiteX10" fmla="*/ 0 w 2718309"/>
                  <a:gd name="connsiteY10" fmla="*/ 1730375 h 1781453"/>
                  <a:gd name="connsiteX0" fmla="*/ 0 w 2718309"/>
                  <a:gd name="connsiteY0" fmla="*/ 1730375 h 1781453"/>
                  <a:gd name="connsiteX1" fmla="*/ 3175 w 2718309"/>
                  <a:gd name="connsiteY1" fmla="*/ 1292225 h 1781453"/>
                  <a:gd name="connsiteX2" fmla="*/ 1295400 w 2718309"/>
                  <a:gd name="connsiteY2" fmla="*/ 0 h 1781453"/>
                  <a:gd name="connsiteX3" fmla="*/ 2600325 w 2718309"/>
                  <a:gd name="connsiteY3" fmla="*/ 1295400 h 1781453"/>
                  <a:gd name="connsiteX4" fmla="*/ 2606675 w 2718309"/>
                  <a:gd name="connsiteY4" fmla="*/ 1730375 h 1781453"/>
                  <a:gd name="connsiteX5" fmla="*/ 2155825 w 2718309"/>
                  <a:gd name="connsiteY5" fmla="*/ 1724025 h 1781453"/>
                  <a:gd name="connsiteX6" fmla="*/ 2165350 w 2718309"/>
                  <a:gd name="connsiteY6" fmla="*/ 1292225 h 1781453"/>
                  <a:gd name="connsiteX7" fmla="*/ 1298575 w 2718309"/>
                  <a:gd name="connsiteY7" fmla="*/ 431800 h 1781453"/>
                  <a:gd name="connsiteX8" fmla="*/ 431800 w 2718309"/>
                  <a:gd name="connsiteY8" fmla="*/ 1292225 h 1781453"/>
                  <a:gd name="connsiteX9" fmla="*/ 425450 w 2718309"/>
                  <a:gd name="connsiteY9" fmla="*/ 1727200 h 1781453"/>
                  <a:gd name="connsiteX10" fmla="*/ 0 w 2718309"/>
                  <a:gd name="connsiteY10" fmla="*/ 1730375 h 1781453"/>
                  <a:gd name="connsiteX0" fmla="*/ 0 w 2718003"/>
                  <a:gd name="connsiteY0" fmla="*/ 1730375 h 1781453"/>
                  <a:gd name="connsiteX1" fmla="*/ 3175 w 2718003"/>
                  <a:gd name="connsiteY1" fmla="*/ 1292225 h 1781453"/>
                  <a:gd name="connsiteX2" fmla="*/ 1295400 w 2718003"/>
                  <a:gd name="connsiteY2" fmla="*/ 0 h 1781453"/>
                  <a:gd name="connsiteX3" fmla="*/ 2600325 w 2718003"/>
                  <a:gd name="connsiteY3" fmla="*/ 1295400 h 1781453"/>
                  <a:gd name="connsiteX4" fmla="*/ 2606675 w 2718003"/>
                  <a:gd name="connsiteY4" fmla="*/ 1730375 h 1781453"/>
                  <a:gd name="connsiteX5" fmla="*/ 2162175 w 2718003"/>
                  <a:gd name="connsiteY5" fmla="*/ 1724025 h 1781453"/>
                  <a:gd name="connsiteX6" fmla="*/ 2165350 w 2718003"/>
                  <a:gd name="connsiteY6" fmla="*/ 1292225 h 1781453"/>
                  <a:gd name="connsiteX7" fmla="*/ 1298575 w 2718003"/>
                  <a:gd name="connsiteY7" fmla="*/ 431800 h 1781453"/>
                  <a:gd name="connsiteX8" fmla="*/ 431800 w 2718003"/>
                  <a:gd name="connsiteY8" fmla="*/ 1292225 h 1781453"/>
                  <a:gd name="connsiteX9" fmla="*/ 425450 w 2718003"/>
                  <a:gd name="connsiteY9" fmla="*/ 1727200 h 1781453"/>
                  <a:gd name="connsiteX10" fmla="*/ 0 w 2718003"/>
                  <a:gd name="connsiteY10" fmla="*/ 1730375 h 1781453"/>
                  <a:gd name="connsiteX0" fmla="*/ 0 w 2718003"/>
                  <a:gd name="connsiteY0" fmla="*/ 1730375 h 1781453"/>
                  <a:gd name="connsiteX1" fmla="*/ 3175 w 2718003"/>
                  <a:gd name="connsiteY1" fmla="*/ 1292225 h 1781453"/>
                  <a:gd name="connsiteX2" fmla="*/ 1295400 w 2718003"/>
                  <a:gd name="connsiteY2" fmla="*/ 0 h 1781453"/>
                  <a:gd name="connsiteX3" fmla="*/ 2600325 w 2718003"/>
                  <a:gd name="connsiteY3" fmla="*/ 1295400 h 1781453"/>
                  <a:gd name="connsiteX4" fmla="*/ 2606675 w 2718003"/>
                  <a:gd name="connsiteY4" fmla="*/ 1730375 h 1781453"/>
                  <a:gd name="connsiteX5" fmla="*/ 2162175 w 2718003"/>
                  <a:gd name="connsiteY5" fmla="*/ 1724025 h 1781453"/>
                  <a:gd name="connsiteX6" fmla="*/ 2165350 w 2718003"/>
                  <a:gd name="connsiteY6" fmla="*/ 1292225 h 1781453"/>
                  <a:gd name="connsiteX7" fmla="*/ 1298575 w 2718003"/>
                  <a:gd name="connsiteY7" fmla="*/ 431800 h 1781453"/>
                  <a:gd name="connsiteX8" fmla="*/ 431800 w 2718003"/>
                  <a:gd name="connsiteY8" fmla="*/ 1292225 h 1781453"/>
                  <a:gd name="connsiteX9" fmla="*/ 425450 w 2718003"/>
                  <a:gd name="connsiteY9" fmla="*/ 1727200 h 1781453"/>
                  <a:gd name="connsiteX10" fmla="*/ 0 w 2718003"/>
                  <a:gd name="connsiteY10" fmla="*/ 1730375 h 1781453"/>
                  <a:gd name="connsiteX0" fmla="*/ 0 w 2718003"/>
                  <a:gd name="connsiteY0" fmla="*/ 1730375 h 1781453"/>
                  <a:gd name="connsiteX1" fmla="*/ 3175 w 2718003"/>
                  <a:gd name="connsiteY1" fmla="*/ 1292225 h 1781453"/>
                  <a:gd name="connsiteX2" fmla="*/ 1295400 w 2718003"/>
                  <a:gd name="connsiteY2" fmla="*/ 0 h 1781453"/>
                  <a:gd name="connsiteX3" fmla="*/ 2600325 w 2718003"/>
                  <a:gd name="connsiteY3" fmla="*/ 1295400 h 1781453"/>
                  <a:gd name="connsiteX4" fmla="*/ 2606675 w 2718003"/>
                  <a:gd name="connsiteY4" fmla="*/ 1730375 h 1781453"/>
                  <a:gd name="connsiteX5" fmla="*/ 2162175 w 2718003"/>
                  <a:gd name="connsiteY5" fmla="*/ 1724025 h 1781453"/>
                  <a:gd name="connsiteX6" fmla="*/ 2165350 w 2718003"/>
                  <a:gd name="connsiteY6" fmla="*/ 1292225 h 1781453"/>
                  <a:gd name="connsiteX7" fmla="*/ 1298575 w 2718003"/>
                  <a:gd name="connsiteY7" fmla="*/ 431800 h 1781453"/>
                  <a:gd name="connsiteX8" fmla="*/ 431800 w 2718003"/>
                  <a:gd name="connsiteY8" fmla="*/ 1292225 h 1781453"/>
                  <a:gd name="connsiteX9" fmla="*/ 425450 w 2718003"/>
                  <a:gd name="connsiteY9" fmla="*/ 1727200 h 1781453"/>
                  <a:gd name="connsiteX10" fmla="*/ 0 w 2718003"/>
                  <a:gd name="connsiteY10" fmla="*/ 1730375 h 1781453"/>
                  <a:gd name="connsiteX0" fmla="*/ 0 w 2718003"/>
                  <a:gd name="connsiteY0" fmla="*/ 1730375 h 1761215"/>
                  <a:gd name="connsiteX1" fmla="*/ 3175 w 2718003"/>
                  <a:gd name="connsiteY1" fmla="*/ 1292225 h 1761215"/>
                  <a:gd name="connsiteX2" fmla="*/ 1295400 w 2718003"/>
                  <a:gd name="connsiteY2" fmla="*/ 0 h 1761215"/>
                  <a:gd name="connsiteX3" fmla="*/ 2600325 w 2718003"/>
                  <a:gd name="connsiteY3" fmla="*/ 1295400 h 1761215"/>
                  <a:gd name="connsiteX4" fmla="*/ 2606675 w 2718003"/>
                  <a:gd name="connsiteY4" fmla="*/ 1730375 h 1761215"/>
                  <a:gd name="connsiteX5" fmla="*/ 2162175 w 2718003"/>
                  <a:gd name="connsiteY5" fmla="*/ 1724025 h 1761215"/>
                  <a:gd name="connsiteX6" fmla="*/ 2165350 w 2718003"/>
                  <a:gd name="connsiteY6" fmla="*/ 1292225 h 1761215"/>
                  <a:gd name="connsiteX7" fmla="*/ 1298575 w 2718003"/>
                  <a:gd name="connsiteY7" fmla="*/ 431800 h 1761215"/>
                  <a:gd name="connsiteX8" fmla="*/ 431800 w 2718003"/>
                  <a:gd name="connsiteY8" fmla="*/ 1292225 h 1761215"/>
                  <a:gd name="connsiteX9" fmla="*/ 425450 w 2718003"/>
                  <a:gd name="connsiteY9" fmla="*/ 1727200 h 1761215"/>
                  <a:gd name="connsiteX10" fmla="*/ 0 w 2718003"/>
                  <a:gd name="connsiteY10" fmla="*/ 1730375 h 1761215"/>
                  <a:gd name="connsiteX0" fmla="*/ 0 w 2718003"/>
                  <a:gd name="connsiteY0" fmla="*/ 1730375 h 1730375"/>
                  <a:gd name="connsiteX1" fmla="*/ 3175 w 2718003"/>
                  <a:gd name="connsiteY1" fmla="*/ 1292225 h 1730375"/>
                  <a:gd name="connsiteX2" fmla="*/ 1295400 w 2718003"/>
                  <a:gd name="connsiteY2" fmla="*/ 0 h 1730375"/>
                  <a:gd name="connsiteX3" fmla="*/ 2600325 w 2718003"/>
                  <a:gd name="connsiteY3" fmla="*/ 1295400 h 1730375"/>
                  <a:gd name="connsiteX4" fmla="*/ 2606675 w 2718003"/>
                  <a:gd name="connsiteY4" fmla="*/ 1730375 h 1730375"/>
                  <a:gd name="connsiteX5" fmla="*/ 2162175 w 2718003"/>
                  <a:gd name="connsiteY5" fmla="*/ 1724025 h 1730375"/>
                  <a:gd name="connsiteX6" fmla="*/ 2165350 w 2718003"/>
                  <a:gd name="connsiteY6" fmla="*/ 1292225 h 1730375"/>
                  <a:gd name="connsiteX7" fmla="*/ 1298575 w 2718003"/>
                  <a:gd name="connsiteY7" fmla="*/ 431800 h 1730375"/>
                  <a:gd name="connsiteX8" fmla="*/ 431800 w 2718003"/>
                  <a:gd name="connsiteY8" fmla="*/ 1292225 h 1730375"/>
                  <a:gd name="connsiteX9" fmla="*/ 425450 w 2718003"/>
                  <a:gd name="connsiteY9" fmla="*/ 1727200 h 1730375"/>
                  <a:gd name="connsiteX10" fmla="*/ 0 w 2718003"/>
                  <a:gd name="connsiteY10" fmla="*/ 1730375 h 1730375"/>
                  <a:gd name="connsiteX0" fmla="*/ 0 w 2696986"/>
                  <a:gd name="connsiteY0" fmla="*/ 1730375 h 1730375"/>
                  <a:gd name="connsiteX1" fmla="*/ 3175 w 2696986"/>
                  <a:gd name="connsiteY1" fmla="*/ 1292225 h 1730375"/>
                  <a:gd name="connsiteX2" fmla="*/ 1295400 w 2696986"/>
                  <a:gd name="connsiteY2" fmla="*/ 0 h 1730375"/>
                  <a:gd name="connsiteX3" fmla="*/ 2600325 w 2696986"/>
                  <a:gd name="connsiteY3" fmla="*/ 1295400 h 1730375"/>
                  <a:gd name="connsiteX4" fmla="*/ 2606675 w 2696986"/>
                  <a:gd name="connsiteY4" fmla="*/ 1730375 h 1730375"/>
                  <a:gd name="connsiteX5" fmla="*/ 2162175 w 2696986"/>
                  <a:gd name="connsiteY5" fmla="*/ 1724025 h 1730375"/>
                  <a:gd name="connsiteX6" fmla="*/ 2165350 w 2696986"/>
                  <a:gd name="connsiteY6" fmla="*/ 1292225 h 1730375"/>
                  <a:gd name="connsiteX7" fmla="*/ 1298575 w 2696986"/>
                  <a:gd name="connsiteY7" fmla="*/ 431800 h 1730375"/>
                  <a:gd name="connsiteX8" fmla="*/ 431800 w 2696986"/>
                  <a:gd name="connsiteY8" fmla="*/ 1292225 h 1730375"/>
                  <a:gd name="connsiteX9" fmla="*/ 425450 w 2696986"/>
                  <a:gd name="connsiteY9" fmla="*/ 1727200 h 1730375"/>
                  <a:gd name="connsiteX10" fmla="*/ 0 w 2696986"/>
                  <a:gd name="connsiteY10" fmla="*/ 1730375 h 1730375"/>
                  <a:gd name="connsiteX0" fmla="*/ 0 w 2606675"/>
                  <a:gd name="connsiteY0" fmla="*/ 1730375 h 1730375"/>
                  <a:gd name="connsiteX1" fmla="*/ 3175 w 2606675"/>
                  <a:gd name="connsiteY1" fmla="*/ 1292225 h 1730375"/>
                  <a:gd name="connsiteX2" fmla="*/ 1295400 w 2606675"/>
                  <a:gd name="connsiteY2" fmla="*/ 0 h 1730375"/>
                  <a:gd name="connsiteX3" fmla="*/ 2600325 w 2606675"/>
                  <a:gd name="connsiteY3" fmla="*/ 1295400 h 1730375"/>
                  <a:gd name="connsiteX4" fmla="*/ 2606675 w 2606675"/>
                  <a:gd name="connsiteY4" fmla="*/ 1730375 h 1730375"/>
                  <a:gd name="connsiteX5" fmla="*/ 2162175 w 2606675"/>
                  <a:gd name="connsiteY5" fmla="*/ 1724025 h 1730375"/>
                  <a:gd name="connsiteX6" fmla="*/ 2165350 w 2606675"/>
                  <a:gd name="connsiteY6" fmla="*/ 1292225 h 1730375"/>
                  <a:gd name="connsiteX7" fmla="*/ 1298575 w 2606675"/>
                  <a:gd name="connsiteY7" fmla="*/ 431800 h 1730375"/>
                  <a:gd name="connsiteX8" fmla="*/ 431800 w 2606675"/>
                  <a:gd name="connsiteY8" fmla="*/ 1292225 h 1730375"/>
                  <a:gd name="connsiteX9" fmla="*/ 425450 w 2606675"/>
                  <a:gd name="connsiteY9" fmla="*/ 1727200 h 1730375"/>
                  <a:gd name="connsiteX10" fmla="*/ 0 w 2606675"/>
                  <a:gd name="connsiteY10" fmla="*/ 1730375 h 1730375"/>
                  <a:gd name="connsiteX0" fmla="*/ 0 w 2606675"/>
                  <a:gd name="connsiteY0" fmla="*/ 1730375 h 1730375"/>
                  <a:gd name="connsiteX1" fmla="*/ 3175 w 2606675"/>
                  <a:gd name="connsiteY1" fmla="*/ 1292225 h 1730375"/>
                  <a:gd name="connsiteX2" fmla="*/ 1295400 w 2606675"/>
                  <a:gd name="connsiteY2" fmla="*/ 0 h 1730375"/>
                  <a:gd name="connsiteX3" fmla="*/ 2600325 w 2606675"/>
                  <a:gd name="connsiteY3" fmla="*/ 1295400 h 1730375"/>
                  <a:gd name="connsiteX4" fmla="*/ 2606675 w 2606675"/>
                  <a:gd name="connsiteY4" fmla="*/ 1730375 h 1730375"/>
                  <a:gd name="connsiteX5" fmla="*/ 2162175 w 2606675"/>
                  <a:gd name="connsiteY5" fmla="*/ 1724025 h 1730375"/>
                  <a:gd name="connsiteX6" fmla="*/ 2165350 w 2606675"/>
                  <a:gd name="connsiteY6" fmla="*/ 1292225 h 1730375"/>
                  <a:gd name="connsiteX7" fmla="*/ 1298575 w 2606675"/>
                  <a:gd name="connsiteY7" fmla="*/ 431800 h 1730375"/>
                  <a:gd name="connsiteX8" fmla="*/ 431800 w 2606675"/>
                  <a:gd name="connsiteY8" fmla="*/ 1292225 h 1730375"/>
                  <a:gd name="connsiteX9" fmla="*/ 425450 w 2606675"/>
                  <a:gd name="connsiteY9" fmla="*/ 1727200 h 1730375"/>
                  <a:gd name="connsiteX10" fmla="*/ 0 w 2606675"/>
                  <a:gd name="connsiteY10" fmla="*/ 1730375 h 1730375"/>
                  <a:gd name="connsiteX0" fmla="*/ 0 w 2606675"/>
                  <a:gd name="connsiteY0" fmla="*/ 1730375 h 1730375"/>
                  <a:gd name="connsiteX1" fmla="*/ 3175 w 2606675"/>
                  <a:gd name="connsiteY1" fmla="*/ 1292225 h 1730375"/>
                  <a:gd name="connsiteX2" fmla="*/ 1295400 w 2606675"/>
                  <a:gd name="connsiteY2" fmla="*/ 0 h 1730375"/>
                  <a:gd name="connsiteX3" fmla="*/ 2600325 w 2606675"/>
                  <a:gd name="connsiteY3" fmla="*/ 1295400 h 1730375"/>
                  <a:gd name="connsiteX4" fmla="*/ 2606675 w 2606675"/>
                  <a:gd name="connsiteY4" fmla="*/ 1730375 h 1730375"/>
                  <a:gd name="connsiteX5" fmla="*/ 2162175 w 2606675"/>
                  <a:gd name="connsiteY5" fmla="*/ 1724025 h 1730375"/>
                  <a:gd name="connsiteX6" fmla="*/ 2165350 w 2606675"/>
                  <a:gd name="connsiteY6" fmla="*/ 1292225 h 1730375"/>
                  <a:gd name="connsiteX7" fmla="*/ 1298575 w 2606675"/>
                  <a:gd name="connsiteY7" fmla="*/ 431800 h 1730375"/>
                  <a:gd name="connsiteX8" fmla="*/ 431800 w 2606675"/>
                  <a:gd name="connsiteY8" fmla="*/ 1292225 h 1730375"/>
                  <a:gd name="connsiteX9" fmla="*/ 425450 w 2606675"/>
                  <a:gd name="connsiteY9" fmla="*/ 1727200 h 1730375"/>
                  <a:gd name="connsiteX10" fmla="*/ 0 w 2606675"/>
                  <a:gd name="connsiteY10" fmla="*/ 1730375 h 1730375"/>
                  <a:gd name="connsiteX0" fmla="*/ 0 w 2606675"/>
                  <a:gd name="connsiteY0" fmla="*/ 1730375 h 1730375"/>
                  <a:gd name="connsiteX1" fmla="*/ 3175 w 2606675"/>
                  <a:gd name="connsiteY1" fmla="*/ 1292225 h 1730375"/>
                  <a:gd name="connsiteX2" fmla="*/ 1295400 w 2606675"/>
                  <a:gd name="connsiteY2" fmla="*/ 0 h 1730375"/>
                  <a:gd name="connsiteX3" fmla="*/ 2600325 w 2606675"/>
                  <a:gd name="connsiteY3" fmla="*/ 1295400 h 1730375"/>
                  <a:gd name="connsiteX4" fmla="*/ 2606675 w 2606675"/>
                  <a:gd name="connsiteY4" fmla="*/ 1730375 h 1730375"/>
                  <a:gd name="connsiteX5" fmla="*/ 2162175 w 2606675"/>
                  <a:gd name="connsiteY5" fmla="*/ 1724025 h 1730375"/>
                  <a:gd name="connsiteX6" fmla="*/ 2165350 w 2606675"/>
                  <a:gd name="connsiteY6" fmla="*/ 1292225 h 1730375"/>
                  <a:gd name="connsiteX7" fmla="*/ 1298575 w 2606675"/>
                  <a:gd name="connsiteY7" fmla="*/ 431800 h 1730375"/>
                  <a:gd name="connsiteX8" fmla="*/ 431800 w 2606675"/>
                  <a:gd name="connsiteY8" fmla="*/ 1292225 h 1730375"/>
                  <a:gd name="connsiteX9" fmla="*/ 425450 w 2606675"/>
                  <a:gd name="connsiteY9" fmla="*/ 1727200 h 1730375"/>
                  <a:gd name="connsiteX10" fmla="*/ 0 w 2606675"/>
                  <a:gd name="connsiteY10" fmla="*/ 1730375 h 1730375"/>
                  <a:gd name="connsiteX0" fmla="*/ 0 w 2606675"/>
                  <a:gd name="connsiteY0" fmla="*/ 1730375 h 1730375"/>
                  <a:gd name="connsiteX1" fmla="*/ 3175 w 2606675"/>
                  <a:gd name="connsiteY1" fmla="*/ 1292225 h 1730375"/>
                  <a:gd name="connsiteX2" fmla="*/ 1295400 w 2606675"/>
                  <a:gd name="connsiteY2" fmla="*/ 0 h 1730375"/>
                  <a:gd name="connsiteX3" fmla="*/ 2600325 w 2606675"/>
                  <a:gd name="connsiteY3" fmla="*/ 1295400 h 1730375"/>
                  <a:gd name="connsiteX4" fmla="*/ 2606675 w 2606675"/>
                  <a:gd name="connsiteY4" fmla="*/ 1730375 h 1730375"/>
                  <a:gd name="connsiteX5" fmla="*/ 2162175 w 2606675"/>
                  <a:gd name="connsiteY5" fmla="*/ 1724025 h 1730375"/>
                  <a:gd name="connsiteX6" fmla="*/ 2165350 w 2606675"/>
                  <a:gd name="connsiteY6" fmla="*/ 1292225 h 1730375"/>
                  <a:gd name="connsiteX7" fmla="*/ 1298575 w 2606675"/>
                  <a:gd name="connsiteY7" fmla="*/ 431800 h 1730375"/>
                  <a:gd name="connsiteX8" fmla="*/ 431800 w 2606675"/>
                  <a:gd name="connsiteY8" fmla="*/ 1292225 h 1730375"/>
                  <a:gd name="connsiteX9" fmla="*/ 425450 w 2606675"/>
                  <a:gd name="connsiteY9" fmla="*/ 1727200 h 1730375"/>
                  <a:gd name="connsiteX10" fmla="*/ 0 w 2606675"/>
                  <a:gd name="connsiteY10" fmla="*/ 1730375 h 1730375"/>
                  <a:gd name="connsiteX0" fmla="*/ 0 w 2606675"/>
                  <a:gd name="connsiteY0" fmla="*/ 1730375 h 1730375"/>
                  <a:gd name="connsiteX1" fmla="*/ 3175 w 2606675"/>
                  <a:gd name="connsiteY1" fmla="*/ 1292225 h 1730375"/>
                  <a:gd name="connsiteX2" fmla="*/ 1295400 w 2606675"/>
                  <a:gd name="connsiteY2" fmla="*/ 0 h 1730375"/>
                  <a:gd name="connsiteX3" fmla="*/ 2600325 w 2606675"/>
                  <a:gd name="connsiteY3" fmla="*/ 1295400 h 1730375"/>
                  <a:gd name="connsiteX4" fmla="*/ 2606675 w 2606675"/>
                  <a:gd name="connsiteY4" fmla="*/ 1730375 h 1730375"/>
                  <a:gd name="connsiteX5" fmla="*/ 2162175 w 2606675"/>
                  <a:gd name="connsiteY5" fmla="*/ 1724025 h 1730375"/>
                  <a:gd name="connsiteX6" fmla="*/ 2165350 w 2606675"/>
                  <a:gd name="connsiteY6" fmla="*/ 1292225 h 1730375"/>
                  <a:gd name="connsiteX7" fmla="*/ 1298575 w 2606675"/>
                  <a:gd name="connsiteY7" fmla="*/ 431800 h 1730375"/>
                  <a:gd name="connsiteX8" fmla="*/ 431800 w 2606675"/>
                  <a:gd name="connsiteY8" fmla="*/ 1292225 h 1730375"/>
                  <a:gd name="connsiteX9" fmla="*/ 425450 w 2606675"/>
                  <a:gd name="connsiteY9" fmla="*/ 1727200 h 1730375"/>
                  <a:gd name="connsiteX10" fmla="*/ 0 w 2606675"/>
                  <a:gd name="connsiteY10" fmla="*/ 1730375 h 1730375"/>
                  <a:gd name="connsiteX0" fmla="*/ 0 w 2606675"/>
                  <a:gd name="connsiteY0" fmla="*/ 1730375 h 1730375"/>
                  <a:gd name="connsiteX1" fmla="*/ 3175 w 2606675"/>
                  <a:gd name="connsiteY1" fmla="*/ 1292225 h 1730375"/>
                  <a:gd name="connsiteX2" fmla="*/ 1295400 w 2606675"/>
                  <a:gd name="connsiteY2" fmla="*/ 0 h 1730375"/>
                  <a:gd name="connsiteX3" fmla="*/ 2600325 w 2606675"/>
                  <a:gd name="connsiteY3" fmla="*/ 1295400 h 1730375"/>
                  <a:gd name="connsiteX4" fmla="*/ 2606675 w 2606675"/>
                  <a:gd name="connsiteY4" fmla="*/ 1730375 h 1730375"/>
                  <a:gd name="connsiteX5" fmla="*/ 2162175 w 2606675"/>
                  <a:gd name="connsiteY5" fmla="*/ 1724025 h 1730375"/>
                  <a:gd name="connsiteX6" fmla="*/ 2165350 w 2606675"/>
                  <a:gd name="connsiteY6" fmla="*/ 1292225 h 1730375"/>
                  <a:gd name="connsiteX7" fmla="*/ 1298575 w 2606675"/>
                  <a:gd name="connsiteY7" fmla="*/ 431800 h 1730375"/>
                  <a:gd name="connsiteX8" fmla="*/ 431800 w 2606675"/>
                  <a:gd name="connsiteY8" fmla="*/ 1292225 h 1730375"/>
                  <a:gd name="connsiteX9" fmla="*/ 425450 w 2606675"/>
                  <a:gd name="connsiteY9" fmla="*/ 1727200 h 1730375"/>
                  <a:gd name="connsiteX10" fmla="*/ 0 w 2606675"/>
                  <a:gd name="connsiteY10" fmla="*/ 1730375 h 1730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606675" h="1730375">
                    <a:moveTo>
                      <a:pt x="0" y="1730375"/>
                    </a:moveTo>
                    <a:cubicBezTo>
                      <a:pt x="2646" y="1432454"/>
                      <a:pt x="3175" y="1688571"/>
                      <a:pt x="3175" y="1292225"/>
                    </a:cubicBezTo>
                    <a:cubicBezTo>
                      <a:pt x="0" y="587904"/>
                      <a:pt x="548217" y="2646"/>
                      <a:pt x="1295400" y="0"/>
                    </a:cubicBezTo>
                    <a:cubicBezTo>
                      <a:pt x="2020358" y="529"/>
                      <a:pt x="2591329" y="578379"/>
                      <a:pt x="2600325" y="1295400"/>
                    </a:cubicBezTo>
                    <a:cubicBezTo>
                      <a:pt x="2602971" y="1621896"/>
                      <a:pt x="2597150" y="1341438"/>
                      <a:pt x="2606675" y="1730375"/>
                    </a:cubicBezTo>
                    <a:cubicBezTo>
                      <a:pt x="2333625" y="1725613"/>
                      <a:pt x="2543704" y="1727200"/>
                      <a:pt x="2162175" y="1724025"/>
                    </a:cubicBezTo>
                    <a:cubicBezTo>
                      <a:pt x="2171171" y="1365250"/>
                      <a:pt x="2166408" y="1552046"/>
                      <a:pt x="2165350" y="1292225"/>
                    </a:cubicBezTo>
                    <a:cubicBezTo>
                      <a:pt x="2161117" y="864129"/>
                      <a:pt x="1844675" y="434975"/>
                      <a:pt x="1298575" y="431800"/>
                    </a:cubicBezTo>
                    <a:cubicBezTo>
                      <a:pt x="752475" y="428625"/>
                      <a:pt x="431271" y="879475"/>
                      <a:pt x="431800" y="1292225"/>
                    </a:cubicBezTo>
                    <a:cubicBezTo>
                      <a:pt x="432134" y="1552588"/>
                      <a:pt x="424392" y="1333500"/>
                      <a:pt x="425450" y="1727200"/>
                    </a:cubicBezTo>
                    <a:cubicBezTo>
                      <a:pt x="255058" y="1727200"/>
                      <a:pt x="257704" y="1723496"/>
                      <a:pt x="0" y="1730375"/>
                    </a:cubicBezTo>
                    <a:close/>
                  </a:path>
                </a:pathLst>
              </a:custGeom>
              <a:grpFill/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E7D9019-4D50-479F-9F0A-3560CF47DB5C}"/>
                </a:ext>
              </a:extLst>
            </p:cNvPr>
            <p:cNvCxnSpPr>
              <a:stCxn id="141" idx="4"/>
              <a:endCxn id="22" idx="15"/>
            </p:cNvCxnSpPr>
            <p:nvPr/>
          </p:nvCxnSpPr>
          <p:spPr>
            <a:xfrm flipV="1">
              <a:off x="3451396" y="3776089"/>
              <a:ext cx="1193421" cy="243417"/>
            </a:xfrm>
            <a:prstGeom prst="line">
              <a:avLst/>
            </a:prstGeom>
            <a:grpFill/>
            <a:ln w="34925">
              <a:solidFill>
                <a:schemeClr val="accent1">
                  <a:lumMod val="40000"/>
                  <a:lumOff val="6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9DF7A083-96A0-4684-A487-4EE422F2274D}"/>
                </a:ext>
              </a:extLst>
            </p:cNvPr>
            <p:cNvCxnSpPr>
              <a:stCxn id="86" idx="1"/>
              <a:endCxn id="22" idx="16"/>
            </p:cNvCxnSpPr>
            <p:nvPr/>
          </p:nvCxnSpPr>
          <p:spPr>
            <a:xfrm flipV="1">
              <a:off x="4431891" y="4175159"/>
              <a:ext cx="370553" cy="269912"/>
            </a:xfrm>
            <a:prstGeom prst="line">
              <a:avLst/>
            </a:prstGeom>
            <a:grpFill/>
            <a:ln w="34925">
              <a:solidFill>
                <a:schemeClr val="accent1">
                  <a:lumMod val="40000"/>
                  <a:lumOff val="6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5B55663-CFBD-4D1A-BD20-1B3C013122B6}"/>
                </a:ext>
              </a:extLst>
            </p:cNvPr>
            <p:cNvCxnSpPr>
              <a:stCxn id="83" idx="1"/>
              <a:endCxn id="22" idx="5"/>
            </p:cNvCxnSpPr>
            <p:nvPr/>
          </p:nvCxnSpPr>
          <p:spPr>
            <a:xfrm flipH="1" flipV="1">
              <a:off x="7112667" y="4180835"/>
              <a:ext cx="467507" cy="261740"/>
            </a:xfrm>
            <a:prstGeom prst="line">
              <a:avLst/>
            </a:prstGeom>
            <a:grpFill/>
            <a:ln w="34925">
              <a:solidFill>
                <a:schemeClr val="accent1">
                  <a:lumMod val="40000"/>
                  <a:lumOff val="6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53B8F83-76E2-4645-8388-14C23405FDC8}"/>
                </a:ext>
              </a:extLst>
            </p:cNvPr>
            <p:cNvCxnSpPr>
              <a:stCxn id="108" idx="2"/>
              <a:endCxn id="22" idx="6"/>
            </p:cNvCxnSpPr>
            <p:nvPr/>
          </p:nvCxnSpPr>
          <p:spPr>
            <a:xfrm flipH="1" flipV="1">
              <a:off x="7239899" y="3853002"/>
              <a:ext cx="1213892" cy="168370"/>
            </a:xfrm>
            <a:prstGeom prst="line">
              <a:avLst/>
            </a:prstGeom>
            <a:grpFill/>
            <a:ln w="34925">
              <a:solidFill>
                <a:schemeClr val="accent1">
                  <a:lumMod val="40000"/>
                  <a:lumOff val="6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62B62945-4FDB-49CA-B324-5A1AF90A5AC6}"/>
                </a:ext>
              </a:extLst>
            </p:cNvPr>
            <p:cNvCxnSpPr>
              <a:stCxn id="22" idx="8"/>
              <a:endCxn id="119" idx="2"/>
            </p:cNvCxnSpPr>
            <p:nvPr/>
          </p:nvCxnSpPr>
          <p:spPr>
            <a:xfrm flipV="1">
              <a:off x="6907753" y="2740922"/>
              <a:ext cx="601691" cy="623274"/>
            </a:xfrm>
            <a:prstGeom prst="line">
              <a:avLst/>
            </a:prstGeom>
            <a:grpFill/>
            <a:ln w="34925">
              <a:solidFill>
                <a:schemeClr val="accent1">
                  <a:lumMod val="40000"/>
                  <a:lumOff val="6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5D29982E-9E4B-4D76-861C-30D1264ADF51}"/>
                </a:ext>
              </a:extLst>
            </p:cNvPr>
            <p:cNvCxnSpPr>
              <a:stCxn id="22" idx="13"/>
              <a:endCxn id="130" idx="4"/>
            </p:cNvCxnSpPr>
            <p:nvPr/>
          </p:nvCxnSpPr>
          <p:spPr>
            <a:xfrm flipH="1" flipV="1">
              <a:off x="4420499" y="2755862"/>
              <a:ext cx="589862" cy="472996"/>
            </a:xfrm>
            <a:prstGeom prst="line">
              <a:avLst/>
            </a:prstGeom>
            <a:grpFill/>
            <a:ln w="34925">
              <a:solidFill>
                <a:schemeClr val="accent1">
                  <a:lumMod val="40000"/>
                  <a:lumOff val="6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E89AA36F-6001-4BDF-AC93-98962A89770A}"/>
                </a:ext>
              </a:extLst>
            </p:cNvPr>
            <p:cNvCxnSpPr>
              <a:stCxn id="97" idx="3"/>
              <a:endCxn id="22" idx="11"/>
            </p:cNvCxnSpPr>
            <p:nvPr/>
          </p:nvCxnSpPr>
          <p:spPr>
            <a:xfrm>
              <a:off x="5690550" y="2355656"/>
              <a:ext cx="21762" cy="244426"/>
            </a:xfrm>
            <a:prstGeom prst="line">
              <a:avLst/>
            </a:prstGeom>
            <a:grpFill/>
            <a:ln w="34925">
              <a:solidFill>
                <a:schemeClr val="accent1">
                  <a:lumMod val="40000"/>
                  <a:lumOff val="60000"/>
                </a:schemeClr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2A0931A4-43AE-4E67-B806-51DAB0390091}"/>
                </a:ext>
              </a:extLst>
            </p:cNvPr>
            <p:cNvGrpSpPr/>
            <p:nvPr/>
          </p:nvGrpSpPr>
          <p:grpSpPr>
            <a:xfrm>
              <a:off x="2142917" y="3786781"/>
              <a:ext cx="427605" cy="427605"/>
              <a:chOff x="3216275" y="1700213"/>
              <a:chExt cx="2592388" cy="2592387"/>
            </a:xfrm>
          </p:grpSpPr>
          <p:sp>
            <p:nvSpPr>
              <p:cNvPr id="69" name="Rounded Rectangle 67">
                <a:extLst>
                  <a:ext uri="{FF2B5EF4-FFF2-40B4-BE49-F238E27FC236}">
                    <a16:creationId xmlns:a16="http://schemas.microsoft.com/office/drawing/2014/main" id="{11B6F685-DC77-479A-9D9A-E760F7368C8C}"/>
                  </a:ext>
                </a:extLst>
              </p:cNvPr>
              <p:cNvSpPr/>
              <p:nvPr/>
            </p:nvSpPr>
            <p:spPr>
              <a:xfrm>
                <a:off x="3216275" y="1700213"/>
                <a:ext cx="2592388" cy="2592387"/>
              </a:xfrm>
              <a:prstGeom prst="roundRect">
                <a:avLst>
                  <a:gd name="adj" fmla="val 8999"/>
                </a:avLst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108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70" name="Straight Connector 69">
                <a:extLst>
                  <a:ext uri="{FF2B5EF4-FFF2-40B4-BE49-F238E27FC236}">
                    <a16:creationId xmlns:a16="http://schemas.microsoft.com/office/drawing/2014/main" id="{46C60899-8CFB-44AB-9E7E-335B663E2797}"/>
                  </a:ext>
                </a:extLst>
              </p:cNvPr>
              <p:cNvCxnSpPr/>
              <p:nvPr/>
            </p:nvCxnSpPr>
            <p:spPr>
              <a:xfrm>
                <a:off x="3216275" y="2565400"/>
                <a:ext cx="2592388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1" name="Straight Connector 70">
                <a:extLst>
                  <a:ext uri="{FF2B5EF4-FFF2-40B4-BE49-F238E27FC236}">
                    <a16:creationId xmlns:a16="http://schemas.microsoft.com/office/drawing/2014/main" id="{0863E020-E671-4618-BE1A-AD4F520D2F0B}"/>
                  </a:ext>
                </a:extLst>
              </p:cNvPr>
              <p:cNvCxnSpPr/>
              <p:nvPr/>
            </p:nvCxnSpPr>
            <p:spPr>
              <a:xfrm>
                <a:off x="3216275" y="3426309"/>
                <a:ext cx="2592388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2" name="Straight Connector 71">
                <a:extLst>
                  <a:ext uri="{FF2B5EF4-FFF2-40B4-BE49-F238E27FC236}">
                    <a16:creationId xmlns:a16="http://schemas.microsoft.com/office/drawing/2014/main" id="{B12342C3-7E86-466D-9B2E-5DA8FEADBD04}"/>
                  </a:ext>
                </a:extLst>
              </p:cNvPr>
              <p:cNvCxnSpPr/>
              <p:nvPr/>
            </p:nvCxnSpPr>
            <p:spPr>
              <a:xfrm>
                <a:off x="3648075" y="2133600"/>
                <a:ext cx="1293811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3" name="Straight Connector 72">
                <a:extLst>
                  <a:ext uri="{FF2B5EF4-FFF2-40B4-BE49-F238E27FC236}">
                    <a16:creationId xmlns:a16="http://schemas.microsoft.com/office/drawing/2014/main" id="{D8CC2342-534E-4AE8-9DE9-D80E0ABB3105}"/>
                  </a:ext>
                </a:extLst>
              </p:cNvPr>
              <p:cNvCxnSpPr/>
              <p:nvPr/>
            </p:nvCxnSpPr>
            <p:spPr>
              <a:xfrm flipV="1">
                <a:off x="3648075" y="2997200"/>
                <a:ext cx="1295400" cy="5522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74" name="Straight Connector 73">
                <a:extLst>
                  <a:ext uri="{FF2B5EF4-FFF2-40B4-BE49-F238E27FC236}">
                    <a16:creationId xmlns:a16="http://schemas.microsoft.com/office/drawing/2014/main" id="{F9E320D6-DED4-41C6-A87C-538618A2AB98}"/>
                  </a:ext>
                </a:extLst>
              </p:cNvPr>
              <p:cNvCxnSpPr/>
              <p:nvPr/>
            </p:nvCxnSpPr>
            <p:spPr>
              <a:xfrm flipV="1">
                <a:off x="3648075" y="3856694"/>
                <a:ext cx="1293811" cy="1515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8024B14D-826B-410C-90A9-A4537DB33461}"/>
                  </a:ext>
                </a:extLst>
              </p:cNvPr>
              <p:cNvSpPr/>
              <p:nvPr/>
            </p:nvSpPr>
            <p:spPr>
              <a:xfrm>
                <a:off x="5231209" y="19895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EF6109C-5161-4030-93F9-8187F196EF4C}"/>
                  </a:ext>
                </a:extLst>
              </p:cNvPr>
              <p:cNvSpPr/>
              <p:nvPr/>
            </p:nvSpPr>
            <p:spPr>
              <a:xfrm>
                <a:off x="5231209" y="28531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A2A26764-5EDF-4173-90C2-2460161DFABE}"/>
                  </a:ext>
                </a:extLst>
              </p:cNvPr>
              <p:cNvSpPr/>
              <p:nvPr/>
            </p:nvSpPr>
            <p:spPr>
              <a:xfrm>
                <a:off x="5231209" y="37167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78D676E6-99A0-48C7-91AD-3C0276EE3413}"/>
                </a:ext>
              </a:extLst>
            </p:cNvPr>
            <p:cNvGrpSpPr/>
            <p:nvPr/>
          </p:nvGrpSpPr>
          <p:grpSpPr>
            <a:xfrm>
              <a:off x="7343631" y="4955557"/>
              <a:ext cx="427605" cy="427605"/>
              <a:chOff x="3216275" y="1700213"/>
              <a:chExt cx="2592388" cy="2592387"/>
            </a:xfrm>
          </p:grpSpPr>
          <p:sp>
            <p:nvSpPr>
              <p:cNvPr id="60" name="Rounded Rectangle 58">
                <a:extLst>
                  <a:ext uri="{FF2B5EF4-FFF2-40B4-BE49-F238E27FC236}">
                    <a16:creationId xmlns:a16="http://schemas.microsoft.com/office/drawing/2014/main" id="{91773981-8013-4C0D-809D-031025E7AF90}"/>
                  </a:ext>
                </a:extLst>
              </p:cNvPr>
              <p:cNvSpPr/>
              <p:nvPr/>
            </p:nvSpPr>
            <p:spPr>
              <a:xfrm>
                <a:off x="3216275" y="1700213"/>
                <a:ext cx="2592388" cy="2592387"/>
              </a:xfrm>
              <a:prstGeom prst="roundRect">
                <a:avLst>
                  <a:gd name="adj" fmla="val 8999"/>
                </a:avLst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108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61" name="Straight Connector 60">
                <a:extLst>
                  <a:ext uri="{FF2B5EF4-FFF2-40B4-BE49-F238E27FC236}">
                    <a16:creationId xmlns:a16="http://schemas.microsoft.com/office/drawing/2014/main" id="{A1108009-A3A4-408A-A72E-EB1DD289BF9B}"/>
                  </a:ext>
                </a:extLst>
              </p:cNvPr>
              <p:cNvCxnSpPr/>
              <p:nvPr/>
            </p:nvCxnSpPr>
            <p:spPr>
              <a:xfrm>
                <a:off x="3216275" y="2565400"/>
                <a:ext cx="2592388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2" name="Straight Connector 61">
                <a:extLst>
                  <a:ext uri="{FF2B5EF4-FFF2-40B4-BE49-F238E27FC236}">
                    <a16:creationId xmlns:a16="http://schemas.microsoft.com/office/drawing/2014/main" id="{E77C19C9-563B-4FA4-8A80-302F5D424294}"/>
                  </a:ext>
                </a:extLst>
              </p:cNvPr>
              <p:cNvCxnSpPr/>
              <p:nvPr/>
            </p:nvCxnSpPr>
            <p:spPr>
              <a:xfrm>
                <a:off x="3216275" y="3426309"/>
                <a:ext cx="2592388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3" name="Straight Connector 62">
                <a:extLst>
                  <a:ext uri="{FF2B5EF4-FFF2-40B4-BE49-F238E27FC236}">
                    <a16:creationId xmlns:a16="http://schemas.microsoft.com/office/drawing/2014/main" id="{48DC3D2A-C755-45F2-A3AC-3564F3418973}"/>
                  </a:ext>
                </a:extLst>
              </p:cNvPr>
              <p:cNvCxnSpPr/>
              <p:nvPr/>
            </p:nvCxnSpPr>
            <p:spPr>
              <a:xfrm>
                <a:off x="3648075" y="2133600"/>
                <a:ext cx="1293811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4" name="Straight Connector 63">
                <a:extLst>
                  <a:ext uri="{FF2B5EF4-FFF2-40B4-BE49-F238E27FC236}">
                    <a16:creationId xmlns:a16="http://schemas.microsoft.com/office/drawing/2014/main" id="{5853D617-8F37-46FC-8E88-F5A1CA4E0024}"/>
                  </a:ext>
                </a:extLst>
              </p:cNvPr>
              <p:cNvCxnSpPr/>
              <p:nvPr/>
            </p:nvCxnSpPr>
            <p:spPr>
              <a:xfrm flipV="1">
                <a:off x="3648075" y="2997200"/>
                <a:ext cx="1295400" cy="5522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65" name="Straight Connector 64">
                <a:extLst>
                  <a:ext uri="{FF2B5EF4-FFF2-40B4-BE49-F238E27FC236}">
                    <a16:creationId xmlns:a16="http://schemas.microsoft.com/office/drawing/2014/main" id="{B78ADEAE-57B7-4F42-B562-CF4F0DA8BE47}"/>
                  </a:ext>
                </a:extLst>
              </p:cNvPr>
              <p:cNvCxnSpPr/>
              <p:nvPr/>
            </p:nvCxnSpPr>
            <p:spPr>
              <a:xfrm flipV="1">
                <a:off x="3648075" y="3856694"/>
                <a:ext cx="1293811" cy="1515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17D9AA0A-F0B6-46F2-A0EA-E992D9EC9C05}"/>
                  </a:ext>
                </a:extLst>
              </p:cNvPr>
              <p:cNvSpPr/>
              <p:nvPr/>
            </p:nvSpPr>
            <p:spPr>
              <a:xfrm>
                <a:off x="5231209" y="19895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7B6D354D-0585-4257-BAF8-0F8F7DABF873}"/>
                  </a:ext>
                </a:extLst>
              </p:cNvPr>
              <p:cNvSpPr/>
              <p:nvPr/>
            </p:nvSpPr>
            <p:spPr>
              <a:xfrm>
                <a:off x="5231209" y="28531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Oval 67">
                <a:extLst>
                  <a:ext uri="{FF2B5EF4-FFF2-40B4-BE49-F238E27FC236}">
                    <a16:creationId xmlns:a16="http://schemas.microsoft.com/office/drawing/2014/main" id="{C18B2387-DCA9-4E7E-A25C-80689A123BA6}"/>
                  </a:ext>
                </a:extLst>
              </p:cNvPr>
              <p:cNvSpPr/>
              <p:nvPr/>
            </p:nvSpPr>
            <p:spPr>
              <a:xfrm>
                <a:off x="5231209" y="37167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4FD5C13-2791-48EB-95E8-7856F5F6A3C1}"/>
                </a:ext>
              </a:extLst>
            </p:cNvPr>
            <p:cNvGrpSpPr/>
            <p:nvPr/>
          </p:nvGrpSpPr>
          <p:grpSpPr>
            <a:xfrm>
              <a:off x="8389352" y="2574189"/>
              <a:ext cx="427605" cy="427605"/>
              <a:chOff x="3216275" y="1700213"/>
              <a:chExt cx="2592388" cy="2592387"/>
            </a:xfrm>
          </p:grpSpPr>
          <p:sp>
            <p:nvSpPr>
              <p:cNvPr id="51" name="Rounded Rectangle 49">
                <a:extLst>
                  <a:ext uri="{FF2B5EF4-FFF2-40B4-BE49-F238E27FC236}">
                    <a16:creationId xmlns:a16="http://schemas.microsoft.com/office/drawing/2014/main" id="{17380C3D-6518-4B8F-94EC-F142ECC74C08}"/>
                  </a:ext>
                </a:extLst>
              </p:cNvPr>
              <p:cNvSpPr/>
              <p:nvPr/>
            </p:nvSpPr>
            <p:spPr>
              <a:xfrm>
                <a:off x="3216275" y="1700213"/>
                <a:ext cx="2592388" cy="2592387"/>
              </a:xfrm>
              <a:prstGeom prst="roundRect">
                <a:avLst>
                  <a:gd name="adj" fmla="val 8999"/>
                </a:avLst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108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7B95F5DE-452A-49BC-9AE4-E6F25C035D28}"/>
                  </a:ext>
                </a:extLst>
              </p:cNvPr>
              <p:cNvCxnSpPr/>
              <p:nvPr/>
            </p:nvCxnSpPr>
            <p:spPr>
              <a:xfrm>
                <a:off x="3216275" y="2565400"/>
                <a:ext cx="2592388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3" name="Straight Connector 52">
                <a:extLst>
                  <a:ext uri="{FF2B5EF4-FFF2-40B4-BE49-F238E27FC236}">
                    <a16:creationId xmlns:a16="http://schemas.microsoft.com/office/drawing/2014/main" id="{F7896905-80FF-4563-9892-449E17946231}"/>
                  </a:ext>
                </a:extLst>
              </p:cNvPr>
              <p:cNvCxnSpPr/>
              <p:nvPr/>
            </p:nvCxnSpPr>
            <p:spPr>
              <a:xfrm>
                <a:off x="3216275" y="3426309"/>
                <a:ext cx="2592388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4" name="Straight Connector 53">
                <a:extLst>
                  <a:ext uri="{FF2B5EF4-FFF2-40B4-BE49-F238E27FC236}">
                    <a16:creationId xmlns:a16="http://schemas.microsoft.com/office/drawing/2014/main" id="{84A934DE-3E55-4324-BAF2-3FE6E908E944}"/>
                  </a:ext>
                </a:extLst>
              </p:cNvPr>
              <p:cNvCxnSpPr/>
              <p:nvPr/>
            </p:nvCxnSpPr>
            <p:spPr>
              <a:xfrm>
                <a:off x="3648075" y="2133600"/>
                <a:ext cx="1293811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5" name="Straight Connector 54">
                <a:extLst>
                  <a:ext uri="{FF2B5EF4-FFF2-40B4-BE49-F238E27FC236}">
                    <a16:creationId xmlns:a16="http://schemas.microsoft.com/office/drawing/2014/main" id="{1174078D-929A-4C9D-AF40-B3E6E452516A}"/>
                  </a:ext>
                </a:extLst>
              </p:cNvPr>
              <p:cNvCxnSpPr/>
              <p:nvPr/>
            </p:nvCxnSpPr>
            <p:spPr>
              <a:xfrm flipV="1">
                <a:off x="3648075" y="2997200"/>
                <a:ext cx="1295400" cy="5522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56" name="Straight Connector 55">
                <a:extLst>
                  <a:ext uri="{FF2B5EF4-FFF2-40B4-BE49-F238E27FC236}">
                    <a16:creationId xmlns:a16="http://schemas.microsoft.com/office/drawing/2014/main" id="{5115FF85-CF1A-466D-95E8-711D6DCE1793}"/>
                  </a:ext>
                </a:extLst>
              </p:cNvPr>
              <p:cNvCxnSpPr/>
              <p:nvPr/>
            </p:nvCxnSpPr>
            <p:spPr>
              <a:xfrm flipV="1">
                <a:off x="3648075" y="3856694"/>
                <a:ext cx="1293811" cy="1515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57" name="Oval 56">
                <a:extLst>
                  <a:ext uri="{FF2B5EF4-FFF2-40B4-BE49-F238E27FC236}">
                    <a16:creationId xmlns:a16="http://schemas.microsoft.com/office/drawing/2014/main" id="{AE67842D-33AC-448A-A3F7-93431A59B0AC}"/>
                  </a:ext>
                </a:extLst>
              </p:cNvPr>
              <p:cNvSpPr/>
              <p:nvPr/>
            </p:nvSpPr>
            <p:spPr>
              <a:xfrm>
                <a:off x="5231209" y="19895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A493F6C5-B45D-4FE0-A7FF-AE9B5665D1AB}"/>
                  </a:ext>
                </a:extLst>
              </p:cNvPr>
              <p:cNvSpPr/>
              <p:nvPr/>
            </p:nvSpPr>
            <p:spPr>
              <a:xfrm>
                <a:off x="5231209" y="28531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FA1C43EA-2893-49B4-8F8C-462E77C22B07}"/>
                  </a:ext>
                </a:extLst>
              </p:cNvPr>
              <p:cNvSpPr/>
              <p:nvPr/>
            </p:nvSpPr>
            <p:spPr>
              <a:xfrm>
                <a:off x="5231209" y="37167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4CB6465-3242-4F6E-9049-08C6D62A1992}"/>
                </a:ext>
              </a:extLst>
            </p:cNvPr>
            <p:cNvGrpSpPr/>
            <p:nvPr/>
          </p:nvGrpSpPr>
          <p:grpSpPr>
            <a:xfrm>
              <a:off x="6183013" y="2944822"/>
              <a:ext cx="645103" cy="645103"/>
              <a:chOff x="5429627" y="6600192"/>
              <a:chExt cx="645103" cy="645103"/>
            </a:xfrm>
          </p:grpSpPr>
          <p:sp>
            <p:nvSpPr>
              <p:cNvPr id="46" name="Oval 45">
                <a:extLst>
                  <a:ext uri="{FF2B5EF4-FFF2-40B4-BE49-F238E27FC236}">
                    <a16:creationId xmlns:a16="http://schemas.microsoft.com/office/drawing/2014/main" id="{48847AD4-EFFF-49C3-A183-E85BF7855538}"/>
                  </a:ext>
                </a:extLst>
              </p:cNvPr>
              <p:cNvSpPr/>
              <p:nvPr userDrawn="1"/>
            </p:nvSpPr>
            <p:spPr>
              <a:xfrm>
                <a:off x="5429627" y="6600192"/>
                <a:ext cx="645103" cy="645103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grpSp>
            <p:nvGrpSpPr>
              <p:cNvPr id="47" name="Group 46">
                <a:extLst>
                  <a:ext uri="{FF2B5EF4-FFF2-40B4-BE49-F238E27FC236}">
                    <a16:creationId xmlns:a16="http://schemas.microsoft.com/office/drawing/2014/main" id="{82EA1A00-2A30-470D-91BC-D4090C0F08C9}"/>
                  </a:ext>
                </a:extLst>
              </p:cNvPr>
              <p:cNvGrpSpPr/>
              <p:nvPr userDrawn="1"/>
            </p:nvGrpSpPr>
            <p:grpSpPr>
              <a:xfrm>
                <a:off x="5489308" y="6682957"/>
                <a:ext cx="479058" cy="493069"/>
                <a:chOff x="1108747" y="836614"/>
                <a:chExt cx="5715613" cy="5896288"/>
              </a:xfrm>
              <a:solidFill>
                <a:schemeClr val="bg1"/>
              </a:solidFill>
              <a:effectLst/>
            </p:grpSpPr>
            <p:sp>
              <p:nvSpPr>
                <p:cNvPr id="48" name="Block Arc 47">
                  <a:extLst>
                    <a:ext uri="{FF2B5EF4-FFF2-40B4-BE49-F238E27FC236}">
                      <a16:creationId xmlns:a16="http://schemas.microsoft.com/office/drawing/2014/main" id="{14984CE4-B5F0-4666-BA96-3CF5C6514BCC}"/>
                    </a:ext>
                  </a:extLst>
                </p:cNvPr>
                <p:cNvSpPr/>
                <p:nvPr/>
              </p:nvSpPr>
              <p:spPr>
                <a:xfrm>
                  <a:off x="2797018" y="836614"/>
                  <a:ext cx="3887786" cy="3887786"/>
                </a:xfrm>
                <a:prstGeom prst="blockArc">
                  <a:avLst>
                    <a:gd name="adj1" fmla="val 1784871"/>
                    <a:gd name="adj2" fmla="val 16234242"/>
                    <a:gd name="adj3" fmla="val 8347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Block Arc 48">
                  <a:extLst>
                    <a:ext uri="{FF2B5EF4-FFF2-40B4-BE49-F238E27FC236}">
                      <a16:creationId xmlns:a16="http://schemas.microsoft.com/office/drawing/2014/main" id="{7F19302B-D4CA-4324-BBDC-232E7BFCAEB4}"/>
                    </a:ext>
                  </a:extLst>
                </p:cNvPr>
                <p:cNvSpPr/>
                <p:nvPr/>
              </p:nvSpPr>
              <p:spPr>
                <a:xfrm rot="7200000">
                  <a:off x="2936571" y="2845112"/>
                  <a:ext cx="3887786" cy="3887793"/>
                </a:xfrm>
                <a:prstGeom prst="blockArc">
                  <a:avLst>
                    <a:gd name="adj1" fmla="val 1784871"/>
                    <a:gd name="adj2" fmla="val 16234242"/>
                    <a:gd name="adj3" fmla="val 8347"/>
                  </a:avLst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Block Arc 49">
                  <a:extLst>
                    <a:ext uri="{FF2B5EF4-FFF2-40B4-BE49-F238E27FC236}">
                      <a16:creationId xmlns:a16="http://schemas.microsoft.com/office/drawing/2014/main" id="{DA9B5542-E1C8-4FC2-9132-8FA6164043C5}"/>
                    </a:ext>
                  </a:extLst>
                </p:cNvPr>
                <p:cNvSpPr/>
                <p:nvPr/>
              </p:nvSpPr>
              <p:spPr>
                <a:xfrm rot="14400000">
                  <a:off x="1108747" y="1888217"/>
                  <a:ext cx="3887786" cy="3887786"/>
                </a:xfrm>
                <a:prstGeom prst="blockArc">
                  <a:avLst>
                    <a:gd name="adj1" fmla="val 1784871"/>
                    <a:gd name="adj2" fmla="val 16234242"/>
                    <a:gd name="adj3" fmla="val 8347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26FCDEB8-D5D0-46E4-97BE-96E0D82FAB2B}"/>
                </a:ext>
              </a:extLst>
            </p:cNvPr>
            <p:cNvGrpSpPr/>
            <p:nvPr/>
          </p:nvGrpSpPr>
          <p:grpSpPr>
            <a:xfrm>
              <a:off x="5761507" y="3792513"/>
              <a:ext cx="427605" cy="427605"/>
              <a:chOff x="3216275" y="1700213"/>
              <a:chExt cx="2592388" cy="2592387"/>
            </a:xfrm>
          </p:grpSpPr>
          <p:sp>
            <p:nvSpPr>
              <p:cNvPr id="37" name="Rounded Rectangle 35">
                <a:extLst>
                  <a:ext uri="{FF2B5EF4-FFF2-40B4-BE49-F238E27FC236}">
                    <a16:creationId xmlns:a16="http://schemas.microsoft.com/office/drawing/2014/main" id="{661BB626-2EDC-488F-92CE-6AFB0E0EF10C}"/>
                  </a:ext>
                </a:extLst>
              </p:cNvPr>
              <p:cNvSpPr/>
              <p:nvPr/>
            </p:nvSpPr>
            <p:spPr>
              <a:xfrm>
                <a:off x="3216275" y="1700213"/>
                <a:ext cx="2592388" cy="2592387"/>
              </a:xfrm>
              <a:prstGeom prst="roundRect">
                <a:avLst>
                  <a:gd name="adj" fmla="val 8999"/>
                </a:avLst>
              </a:prstGeom>
              <a:gradFill>
                <a:gsLst>
                  <a:gs pos="0">
                    <a:schemeClr val="bg1">
                      <a:lumMod val="100000"/>
                    </a:schemeClr>
                  </a:gs>
                  <a:gs pos="100000">
                    <a:srgbClr val="1988E0">
                      <a:lumMod val="52000"/>
                      <a:lumOff val="48000"/>
                    </a:srgbClr>
                  </a:gs>
                </a:gsLst>
                <a:lin ang="10800000" scaled="0"/>
              </a:gra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716F1C7D-C00F-467F-A6D4-D8481CD609FD}"/>
                  </a:ext>
                </a:extLst>
              </p:cNvPr>
              <p:cNvCxnSpPr/>
              <p:nvPr/>
            </p:nvCxnSpPr>
            <p:spPr>
              <a:xfrm>
                <a:off x="3216275" y="2565400"/>
                <a:ext cx="2592388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39" name="Straight Connector 38">
                <a:extLst>
                  <a:ext uri="{FF2B5EF4-FFF2-40B4-BE49-F238E27FC236}">
                    <a16:creationId xmlns:a16="http://schemas.microsoft.com/office/drawing/2014/main" id="{A50303BB-4E87-427E-AD51-2DD39A1C705D}"/>
                  </a:ext>
                </a:extLst>
              </p:cNvPr>
              <p:cNvCxnSpPr/>
              <p:nvPr/>
            </p:nvCxnSpPr>
            <p:spPr>
              <a:xfrm>
                <a:off x="3216275" y="3426309"/>
                <a:ext cx="2592388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0" name="Straight Connector 39">
                <a:extLst>
                  <a:ext uri="{FF2B5EF4-FFF2-40B4-BE49-F238E27FC236}">
                    <a16:creationId xmlns:a16="http://schemas.microsoft.com/office/drawing/2014/main" id="{73FCCC5C-0B54-4EB9-83BB-7EA766DFA828}"/>
                  </a:ext>
                </a:extLst>
              </p:cNvPr>
              <p:cNvCxnSpPr/>
              <p:nvPr/>
            </p:nvCxnSpPr>
            <p:spPr>
              <a:xfrm>
                <a:off x="3648075" y="2133600"/>
                <a:ext cx="1293811" cy="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1" name="Straight Connector 40">
                <a:extLst>
                  <a:ext uri="{FF2B5EF4-FFF2-40B4-BE49-F238E27FC236}">
                    <a16:creationId xmlns:a16="http://schemas.microsoft.com/office/drawing/2014/main" id="{A99857E0-6187-493C-8E56-A2122E463756}"/>
                  </a:ext>
                </a:extLst>
              </p:cNvPr>
              <p:cNvCxnSpPr/>
              <p:nvPr/>
            </p:nvCxnSpPr>
            <p:spPr>
              <a:xfrm flipV="1">
                <a:off x="3648075" y="2997200"/>
                <a:ext cx="1295400" cy="5522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cxnSp>
            <p:nvCxnSpPr>
              <p:cNvPr id="42" name="Straight Connector 41">
                <a:extLst>
                  <a:ext uri="{FF2B5EF4-FFF2-40B4-BE49-F238E27FC236}">
                    <a16:creationId xmlns:a16="http://schemas.microsoft.com/office/drawing/2014/main" id="{B09C7670-0D4D-4CA7-A275-F9228FAEAC2A}"/>
                  </a:ext>
                </a:extLst>
              </p:cNvPr>
              <p:cNvCxnSpPr/>
              <p:nvPr/>
            </p:nvCxnSpPr>
            <p:spPr>
              <a:xfrm flipV="1">
                <a:off x="3648075" y="3856694"/>
                <a:ext cx="1293811" cy="15150"/>
              </a:xfrm>
              <a:prstGeom prst="line">
                <a:avLst/>
              </a:prstGeom>
              <a:solidFill>
                <a:schemeClr val="accent2">
                  <a:lumMod val="20000"/>
                  <a:lumOff val="80000"/>
                </a:schemeClr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</p:cxnSp>
          <p:sp>
            <p:nvSpPr>
              <p:cNvPr id="43" name="Oval 42">
                <a:extLst>
                  <a:ext uri="{FF2B5EF4-FFF2-40B4-BE49-F238E27FC236}">
                    <a16:creationId xmlns:a16="http://schemas.microsoft.com/office/drawing/2014/main" id="{5C3FC362-5A25-4ABE-9D56-0DA407E346EC}"/>
                  </a:ext>
                </a:extLst>
              </p:cNvPr>
              <p:cNvSpPr/>
              <p:nvPr/>
            </p:nvSpPr>
            <p:spPr>
              <a:xfrm>
                <a:off x="5231209" y="19895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4" name="Oval 43">
                <a:extLst>
                  <a:ext uri="{FF2B5EF4-FFF2-40B4-BE49-F238E27FC236}">
                    <a16:creationId xmlns:a16="http://schemas.microsoft.com/office/drawing/2014/main" id="{87FCA3E9-2179-46DC-92BF-65717E5DA13C}"/>
                  </a:ext>
                </a:extLst>
              </p:cNvPr>
              <p:cNvSpPr/>
              <p:nvPr/>
            </p:nvSpPr>
            <p:spPr>
              <a:xfrm>
                <a:off x="5231209" y="28531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5" name="Oval 44">
                <a:extLst>
                  <a:ext uri="{FF2B5EF4-FFF2-40B4-BE49-F238E27FC236}">
                    <a16:creationId xmlns:a16="http://schemas.microsoft.com/office/drawing/2014/main" id="{E8BBB2F1-1E38-4050-A565-C2A6A9E54BBB}"/>
                  </a:ext>
                </a:extLst>
              </p:cNvPr>
              <p:cNvSpPr/>
              <p:nvPr/>
            </p:nvSpPr>
            <p:spPr>
              <a:xfrm>
                <a:off x="5231209" y="3716734"/>
                <a:ext cx="288131" cy="288131"/>
              </a:xfrm>
              <a:prstGeom prst="ellipse">
                <a:avLst/>
              </a:prstGeom>
              <a:solidFill>
                <a:srgbClr val="51BAD9"/>
              </a:solidFill>
              <a:ln w="34925">
                <a:solidFill>
                  <a:srgbClr val="346377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398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08166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Content Placeholder 6" descr="A picture containing image&#10;&#10;Description automatically generated">
            <a:extLst>
              <a:ext uri="{FF2B5EF4-FFF2-40B4-BE49-F238E27FC236}">
                <a16:creationId xmlns:a16="http://schemas.microsoft.com/office/drawing/2014/main" id="{C31315D7-C609-4E78-9501-1B3CD19F50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alphaModFix amt="35000"/>
          </a:blip>
          <a:stretch>
            <a:fillRect/>
          </a:stretch>
        </p:blipFill>
        <p:spPr>
          <a:xfrm>
            <a:off x="597159" y="747278"/>
            <a:ext cx="10417377" cy="6510860"/>
          </a:xfr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D155B53B-DE61-4785-861D-B6076EE7F839}"/>
              </a:ext>
            </a:extLst>
          </p:cNvPr>
          <p:cNvSpPr/>
          <p:nvPr/>
        </p:nvSpPr>
        <p:spPr>
          <a:xfrm>
            <a:off x="2641031" y="3686445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24B6BCFC-203C-42BD-B537-B5ABD2329458}"/>
              </a:ext>
            </a:extLst>
          </p:cNvPr>
          <p:cNvSpPr/>
          <p:nvPr/>
        </p:nvSpPr>
        <p:spPr>
          <a:xfrm>
            <a:off x="2108894" y="3603474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DE895F2-E581-4C3F-94AF-E0E910E06F6D}"/>
              </a:ext>
            </a:extLst>
          </p:cNvPr>
          <p:cNvSpPr/>
          <p:nvPr/>
        </p:nvSpPr>
        <p:spPr>
          <a:xfrm>
            <a:off x="816179" y="2957805"/>
            <a:ext cx="1231816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zies |LAX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714D7B0-C0F0-472B-99A8-122BBAFEE092}"/>
              </a:ext>
            </a:extLst>
          </p:cNvPr>
          <p:cNvCxnSpPr>
            <a:cxnSpLocks/>
            <a:stCxn id="11" idx="2"/>
            <a:endCxn id="12" idx="2"/>
          </p:cNvCxnSpPr>
          <p:nvPr/>
        </p:nvCxnSpPr>
        <p:spPr>
          <a:xfrm flipH="1" flipV="1">
            <a:off x="1432087" y="3354356"/>
            <a:ext cx="676807" cy="332089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C0055F27-17EE-4561-8DD8-E41B6DC1D08C}"/>
              </a:ext>
            </a:extLst>
          </p:cNvPr>
          <p:cNvSpPr/>
          <p:nvPr/>
        </p:nvSpPr>
        <p:spPr>
          <a:xfrm>
            <a:off x="3082213" y="2924823"/>
            <a:ext cx="91129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FW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90D3AF3A-F5F0-4CE2-852F-1EE22097C4B5}"/>
              </a:ext>
            </a:extLst>
          </p:cNvPr>
          <p:cNvCxnSpPr>
            <a:cxnSpLocks/>
            <a:stCxn id="8" idx="7"/>
            <a:endCxn id="15" idx="2"/>
          </p:cNvCxnSpPr>
          <p:nvPr/>
        </p:nvCxnSpPr>
        <p:spPr>
          <a:xfrm flipV="1">
            <a:off x="2785866" y="3321374"/>
            <a:ext cx="751992" cy="389372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A868279E-38E3-434B-BFE4-E0E6599AE003}"/>
              </a:ext>
            </a:extLst>
          </p:cNvPr>
          <p:cNvCxnSpPr>
            <a:cxnSpLocks/>
            <a:stCxn id="23" idx="1"/>
            <a:endCxn id="22" idx="7"/>
          </p:cNvCxnSpPr>
          <p:nvPr/>
        </p:nvCxnSpPr>
        <p:spPr>
          <a:xfrm flipH="1">
            <a:off x="8728130" y="4388024"/>
            <a:ext cx="244338" cy="222576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>
            <a:extLst>
              <a:ext uri="{FF2B5EF4-FFF2-40B4-BE49-F238E27FC236}">
                <a16:creationId xmlns:a16="http://schemas.microsoft.com/office/drawing/2014/main" id="{B3C81241-726D-460A-9ABD-C07DEF1E0052}"/>
              </a:ext>
            </a:extLst>
          </p:cNvPr>
          <p:cNvSpPr/>
          <p:nvPr/>
        </p:nvSpPr>
        <p:spPr>
          <a:xfrm>
            <a:off x="8583295" y="4586299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87D8671C-6865-4A44-B7DA-E85F1208B549}"/>
              </a:ext>
            </a:extLst>
          </p:cNvPr>
          <p:cNvSpPr/>
          <p:nvPr/>
        </p:nvSpPr>
        <p:spPr>
          <a:xfrm>
            <a:off x="8972468" y="4189748"/>
            <a:ext cx="91129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D4425616-AE67-45A0-8669-306DD3E696CB}"/>
              </a:ext>
            </a:extLst>
          </p:cNvPr>
          <p:cNvSpPr/>
          <p:nvPr/>
        </p:nvSpPr>
        <p:spPr>
          <a:xfrm>
            <a:off x="5628564" y="3093043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A0EC7295-8CAC-4BC8-9BE4-CE64D00C63E8}"/>
              </a:ext>
            </a:extLst>
          </p:cNvPr>
          <p:cNvSpPr/>
          <p:nvPr/>
        </p:nvSpPr>
        <p:spPr>
          <a:xfrm>
            <a:off x="5466477" y="2994805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F6438D5-4533-4EC5-9D2D-4787CA246ACD}"/>
              </a:ext>
            </a:extLst>
          </p:cNvPr>
          <p:cNvSpPr/>
          <p:nvPr/>
        </p:nvSpPr>
        <p:spPr>
          <a:xfrm>
            <a:off x="5726848" y="3206274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139DF3D-9884-4FE4-A891-E33A325FD157}"/>
              </a:ext>
            </a:extLst>
          </p:cNvPr>
          <p:cNvSpPr/>
          <p:nvPr/>
        </p:nvSpPr>
        <p:spPr>
          <a:xfrm>
            <a:off x="4107140" y="2275073"/>
            <a:ext cx="91129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HR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F593271-EF68-4A11-9200-D0522813F318}"/>
              </a:ext>
            </a:extLst>
          </p:cNvPr>
          <p:cNvCxnSpPr>
            <a:cxnSpLocks/>
            <a:stCxn id="27" idx="1"/>
            <a:endCxn id="29" idx="2"/>
          </p:cNvCxnSpPr>
          <p:nvPr/>
        </p:nvCxnSpPr>
        <p:spPr>
          <a:xfrm flipH="1" flipV="1">
            <a:off x="4562785" y="2671624"/>
            <a:ext cx="928542" cy="347482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7ED7EC71-BF60-4B97-91DC-D1E4C57C5916}"/>
              </a:ext>
            </a:extLst>
          </p:cNvPr>
          <p:cNvSpPr/>
          <p:nvPr/>
        </p:nvSpPr>
        <p:spPr>
          <a:xfrm>
            <a:off x="5184710" y="1983731"/>
            <a:ext cx="91129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U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3B71520-5AA6-459B-A9C0-9F7E39864F4A}"/>
              </a:ext>
            </a:extLst>
          </p:cNvPr>
          <p:cNvSpPr/>
          <p:nvPr/>
        </p:nvSpPr>
        <p:spPr>
          <a:xfrm>
            <a:off x="5693484" y="3023353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F7B2400-FC01-4D8D-A12E-A08A6D70783C}"/>
              </a:ext>
            </a:extLst>
          </p:cNvPr>
          <p:cNvSpPr/>
          <p:nvPr/>
        </p:nvSpPr>
        <p:spPr>
          <a:xfrm>
            <a:off x="4562785" y="3176013"/>
            <a:ext cx="91129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GG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E19DC1A-F2D6-4D76-B397-4BDCA8825D3B}"/>
              </a:ext>
            </a:extLst>
          </p:cNvPr>
          <p:cNvSpPr/>
          <p:nvPr/>
        </p:nvSpPr>
        <p:spPr>
          <a:xfrm>
            <a:off x="5140559" y="3674664"/>
            <a:ext cx="91129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E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D0CF88C2-42F7-435C-A0EA-15948EEA212D}"/>
              </a:ext>
            </a:extLst>
          </p:cNvPr>
          <p:cNvCxnSpPr>
            <a:cxnSpLocks/>
            <a:stCxn id="34" idx="7"/>
            <a:endCxn id="33" idx="2"/>
          </p:cNvCxnSpPr>
          <p:nvPr/>
        </p:nvCxnSpPr>
        <p:spPr>
          <a:xfrm flipH="1" flipV="1">
            <a:off x="5640355" y="2380282"/>
            <a:ext cx="197964" cy="667372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D1DA2D9C-FD68-47D5-91AD-CC7CC647C6FF}"/>
              </a:ext>
            </a:extLst>
          </p:cNvPr>
          <p:cNvCxnSpPr>
            <a:cxnSpLocks/>
            <a:stCxn id="35" idx="3"/>
            <a:endCxn id="34" idx="3"/>
          </p:cNvCxnSpPr>
          <p:nvPr/>
        </p:nvCxnSpPr>
        <p:spPr>
          <a:xfrm flipV="1">
            <a:off x="5474075" y="3164993"/>
            <a:ext cx="244259" cy="209296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AB0D0CC4-5F54-4726-B67A-71C9D5239E45}"/>
              </a:ext>
            </a:extLst>
          </p:cNvPr>
          <p:cNvCxnSpPr>
            <a:cxnSpLocks/>
            <a:stCxn id="28" idx="4"/>
            <a:endCxn id="37" idx="0"/>
          </p:cNvCxnSpPr>
          <p:nvPr/>
        </p:nvCxnSpPr>
        <p:spPr>
          <a:xfrm flipH="1">
            <a:off x="5596204" y="3372215"/>
            <a:ext cx="215487" cy="302449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id="{6EC6B6F8-7E3C-3202-2DD9-DE59CB7AAE32}"/>
              </a:ext>
            </a:extLst>
          </p:cNvPr>
          <p:cNvSpPr/>
          <p:nvPr/>
        </p:nvSpPr>
        <p:spPr>
          <a:xfrm>
            <a:off x="6346160" y="2258060"/>
            <a:ext cx="91129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ST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B3E4496A-726D-7585-28FF-CDE32FF7CD17}"/>
              </a:ext>
            </a:extLst>
          </p:cNvPr>
          <p:cNvSpPr/>
          <p:nvPr/>
        </p:nvSpPr>
        <p:spPr>
          <a:xfrm>
            <a:off x="5725195" y="2947299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819E521F-5D52-306B-7B9D-C86CFA3AB232}"/>
              </a:ext>
            </a:extLst>
          </p:cNvPr>
          <p:cNvCxnSpPr>
            <a:cxnSpLocks/>
            <a:stCxn id="36" idx="7"/>
            <a:endCxn id="32" idx="1"/>
          </p:cNvCxnSpPr>
          <p:nvPr/>
        </p:nvCxnSpPr>
        <p:spPr>
          <a:xfrm flipV="1">
            <a:off x="5870030" y="2456336"/>
            <a:ext cx="476130" cy="515264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id="{EEB067E5-7AFA-19EE-8E42-426D67447812}"/>
              </a:ext>
            </a:extLst>
          </p:cNvPr>
          <p:cNvSpPr/>
          <p:nvPr/>
        </p:nvSpPr>
        <p:spPr>
          <a:xfrm>
            <a:off x="10598330" y="5912446"/>
            <a:ext cx="1231816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nzies |MEL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32E5DA7C-0073-E258-29B4-ABA350D603EF}"/>
              </a:ext>
            </a:extLst>
          </p:cNvPr>
          <p:cNvSpPr/>
          <p:nvPr/>
        </p:nvSpPr>
        <p:spPr>
          <a:xfrm>
            <a:off x="9714073" y="6113002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8EFB4BC3-5405-BD50-F549-EA6F4FD4FDAF}"/>
              </a:ext>
            </a:extLst>
          </p:cNvPr>
          <p:cNvCxnSpPr>
            <a:cxnSpLocks/>
            <a:stCxn id="40" idx="1"/>
            <a:endCxn id="44" idx="6"/>
          </p:cNvCxnSpPr>
          <p:nvPr/>
        </p:nvCxnSpPr>
        <p:spPr>
          <a:xfrm flipH="1">
            <a:off x="9883758" y="6110722"/>
            <a:ext cx="714572" cy="85251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3">
            <a:extLst>
              <a:ext uri="{FF2B5EF4-FFF2-40B4-BE49-F238E27FC236}">
                <a16:creationId xmlns:a16="http://schemas.microsoft.com/office/drawing/2014/main" id="{6E3C89C6-1525-AA15-61FD-AA092C9C3E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382588"/>
            <a:ext cx="11322050" cy="644525"/>
          </a:xfrm>
        </p:spPr>
        <p:txBody>
          <a:bodyPr/>
          <a:lstStyle/>
          <a:p>
            <a:r>
              <a:rPr lang="en-US" dirty="0"/>
              <a:t>Some of the amazing cargo communities we’re working with</a:t>
            </a:r>
            <a:endParaRPr lang="en-BE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64757D2-ECF2-E293-EFFF-D671B8A1D007}"/>
              </a:ext>
            </a:extLst>
          </p:cNvPr>
          <p:cNvSpPr/>
          <p:nvPr/>
        </p:nvSpPr>
        <p:spPr>
          <a:xfrm>
            <a:off x="6491404" y="2779462"/>
            <a:ext cx="119702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 err="1">
                <a:solidFill>
                  <a:srgbClr val="FFFFFF"/>
                </a:solidFill>
                <a:latin typeface="Calibri" panose="020F0502020204030204"/>
              </a:rPr>
              <a:t>dnata</a:t>
            </a:r>
            <a:r>
              <a:rPr lang="en-US" sz="1400" dirty="0">
                <a:solidFill>
                  <a:srgbClr val="FFFFFF"/>
                </a:solidFill>
                <a:latin typeface="Calibri" panose="020F0502020204030204"/>
              </a:rPr>
              <a:t> | AMS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4248A2CB-73C6-A7F0-1682-32D240FF5E94}"/>
              </a:ext>
            </a:extLst>
          </p:cNvPr>
          <p:cNvCxnSpPr>
            <a:cxnSpLocks/>
            <a:stCxn id="36" idx="5"/>
            <a:endCxn id="19" idx="1"/>
          </p:cNvCxnSpPr>
          <p:nvPr/>
        </p:nvCxnSpPr>
        <p:spPr>
          <a:xfrm flipV="1">
            <a:off x="5870030" y="2977738"/>
            <a:ext cx="621374" cy="111201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Oval 41">
            <a:extLst>
              <a:ext uri="{FF2B5EF4-FFF2-40B4-BE49-F238E27FC236}">
                <a16:creationId xmlns:a16="http://schemas.microsoft.com/office/drawing/2014/main" id="{D79AADEF-ABB3-AAEA-1253-A53C4FDA83F6}"/>
              </a:ext>
            </a:extLst>
          </p:cNvPr>
          <p:cNvSpPr/>
          <p:nvPr/>
        </p:nvSpPr>
        <p:spPr>
          <a:xfrm>
            <a:off x="6188075" y="3541103"/>
            <a:ext cx="169685" cy="165941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7C98B7A-E445-5695-F9AD-30675BC33B96}"/>
              </a:ext>
            </a:extLst>
          </p:cNvPr>
          <p:cNvSpPr/>
          <p:nvPr/>
        </p:nvSpPr>
        <p:spPr>
          <a:xfrm>
            <a:off x="6269986" y="3956316"/>
            <a:ext cx="911290" cy="396551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>
                <a:solidFill>
                  <a:srgbClr val="FFFFFF"/>
                </a:solidFill>
                <a:latin typeface="Calibri" panose="020F0502020204030204"/>
              </a:rPr>
              <a:t>ATH</a:t>
            </a:r>
            <a:endParaRPr kumimoji="0" lang="en-B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6A955433-1433-30C6-7616-2DF558EB370D}"/>
              </a:ext>
            </a:extLst>
          </p:cNvPr>
          <p:cNvCxnSpPr>
            <a:cxnSpLocks/>
            <a:stCxn id="42" idx="5"/>
            <a:endCxn id="46" idx="0"/>
          </p:cNvCxnSpPr>
          <p:nvPr/>
        </p:nvCxnSpPr>
        <p:spPr>
          <a:xfrm>
            <a:off x="6332910" y="3682743"/>
            <a:ext cx="392721" cy="273573"/>
          </a:xfrm>
          <a:prstGeom prst="line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24214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Rectangle 69">
            <a:extLst>
              <a:ext uri="{FF2B5EF4-FFF2-40B4-BE49-F238E27FC236}">
                <a16:creationId xmlns:a16="http://schemas.microsoft.com/office/drawing/2014/main" id="{22DED97B-6B40-478D-8671-73E0AC7E75B6}"/>
              </a:ext>
            </a:extLst>
          </p:cNvPr>
          <p:cNvSpPr/>
          <p:nvPr/>
        </p:nvSpPr>
        <p:spPr>
          <a:xfrm rot="5400000">
            <a:off x="8174632" y="3954193"/>
            <a:ext cx="3622032" cy="56236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Airport) Community Solutions</a:t>
            </a:r>
            <a:endParaRPr kumimoji="0" lang="en-B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194101EC-0974-4A84-B461-3E412DC98D70}"/>
              </a:ext>
            </a:extLst>
          </p:cNvPr>
          <p:cNvSpPr/>
          <p:nvPr/>
        </p:nvSpPr>
        <p:spPr>
          <a:xfrm rot="5400000">
            <a:off x="8055262" y="4647379"/>
            <a:ext cx="2235661" cy="56236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ducts</a:t>
            </a:r>
            <a:endParaRPr kumimoji="0" lang="en-B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D0CB1F-F4D0-4B28-8194-37A6AA4EA8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allian Product offering</a:t>
            </a:r>
            <a:endParaRPr lang="en-BE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375F7A7-9A72-4CFF-95F0-2950E341E0CC}"/>
              </a:ext>
            </a:extLst>
          </p:cNvPr>
          <p:cNvGrpSpPr/>
          <p:nvPr/>
        </p:nvGrpSpPr>
        <p:grpSpPr>
          <a:xfrm>
            <a:off x="623425" y="3809442"/>
            <a:ext cx="1794275" cy="2236948"/>
            <a:chOff x="643303" y="3667289"/>
            <a:chExt cx="1426729" cy="2236948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1E308A6D-4D7C-4013-BD90-E0F326CF24B5}"/>
                </a:ext>
              </a:extLst>
            </p:cNvPr>
            <p:cNvSpPr/>
            <p:nvPr/>
          </p:nvSpPr>
          <p:spPr>
            <a:xfrm>
              <a:off x="643303" y="3667289"/>
              <a:ext cx="1426729" cy="602355"/>
            </a:xfrm>
            <a:prstGeom prst="rect">
              <a:avLst/>
            </a:prstGeom>
            <a:solidFill>
              <a:srgbClr val="86BBEC"/>
            </a:solidFill>
            <a:ln w="19050">
              <a:solidFill>
                <a:srgbClr val="86BBEC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Truck Visit Management</a:t>
              </a:r>
              <a:endParaRPr kumimoji="0" lang="en-B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55C25CAD-F4CF-49DB-AE5D-1DCED3CCE711}"/>
                </a:ext>
              </a:extLst>
            </p:cNvPr>
            <p:cNvSpPr/>
            <p:nvPr/>
          </p:nvSpPr>
          <p:spPr>
            <a:xfrm>
              <a:off x="643304" y="4272972"/>
              <a:ext cx="1426728" cy="1631265"/>
            </a:xfrm>
            <a:prstGeom prst="rect">
              <a:avLst/>
            </a:prstGeom>
            <a:ln w="19050">
              <a:solidFill>
                <a:srgbClr val="86BBEC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Streamline the landside pick-up and drop off process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___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GHA, FFWD, Trucking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9F392653-B001-4C6D-948F-C9A52DFCDD06}"/>
              </a:ext>
            </a:extLst>
          </p:cNvPr>
          <p:cNvGrpSpPr/>
          <p:nvPr/>
        </p:nvGrpSpPr>
        <p:grpSpPr>
          <a:xfrm>
            <a:off x="4753463" y="3810728"/>
            <a:ext cx="1794274" cy="2235662"/>
            <a:chOff x="2543325" y="3670617"/>
            <a:chExt cx="1430168" cy="223566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8AE5440-A95B-4AD3-8214-86800777C112}"/>
                </a:ext>
              </a:extLst>
            </p:cNvPr>
            <p:cNvSpPr/>
            <p:nvPr/>
          </p:nvSpPr>
          <p:spPr>
            <a:xfrm>
              <a:off x="2543325" y="3670617"/>
              <a:ext cx="1430168" cy="602355"/>
            </a:xfrm>
            <a:prstGeom prst="rect">
              <a:avLst/>
            </a:prstGeom>
            <a:solidFill>
              <a:srgbClr val="86BBEC"/>
            </a:solidFill>
            <a:ln w="19050">
              <a:solidFill>
                <a:srgbClr val="86BBEC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Inspection Management</a:t>
              </a:r>
              <a:endParaRPr kumimoji="0" lang="en-B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4" name="Rectangle 63">
              <a:extLst>
                <a:ext uri="{FF2B5EF4-FFF2-40B4-BE49-F238E27FC236}">
                  <a16:creationId xmlns:a16="http://schemas.microsoft.com/office/drawing/2014/main" id="{5E43FF02-771A-4B73-9ED5-04CA6FDDAB4A}"/>
                </a:ext>
              </a:extLst>
            </p:cNvPr>
            <p:cNvSpPr/>
            <p:nvPr/>
          </p:nvSpPr>
          <p:spPr>
            <a:xfrm>
              <a:off x="2546583" y="4269645"/>
              <a:ext cx="1426910" cy="1636634"/>
            </a:xfrm>
            <a:prstGeom prst="rect">
              <a:avLst/>
            </a:prstGeom>
            <a:ln w="19050">
              <a:solidFill>
                <a:srgbClr val="86BBEC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Facilitate coordination of the inspection of goods (PER+AVI)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___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GHA, FFWD, Authorities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D999DF5-1DF6-4E20-BC48-B9B5278BB9CE}"/>
              </a:ext>
            </a:extLst>
          </p:cNvPr>
          <p:cNvGrpSpPr/>
          <p:nvPr/>
        </p:nvGrpSpPr>
        <p:grpSpPr>
          <a:xfrm>
            <a:off x="6868280" y="3810728"/>
            <a:ext cx="1790185" cy="2235662"/>
            <a:chOff x="6407530" y="3671443"/>
            <a:chExt cx="1430168" cy="220489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08F67BE5-F7E1-49FD-973E-5A3CD2908D90}"/>
                </a:ext>
              </a:extLst>
            </p:cNvPr>
            <p:cNvSpPr/>
            <p:nvPr/>
          </p:nvSpPr>
          <p:spPr>
            <a:xfrm>
              <a:off x="6407530" y="3671443"/>
              <a:ext cx="1430168" cy="602355"/>
            </a:xfrm>
            <a:prstGeom prst="rect">
              <a:avLst/>
            </a:prstGeom>
            <a:solidFill>
              <a:srgbClr val="86BBEC"/>
            </a:solidFill>
            <a:ln w="19050">
              <a:solidFill>
                <a:srgbClr val="86BBEC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argo Statistics</a:t>
              </a:r>
              <a:endParaRPr kumimoji="0" lang="en-B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7AE16446-F50D-4054-BF1E-44D3B5D775C2}"/>
                </a:ext>
              </a:extLst>
            </p:cNvPr>
            <p:cNvSpPr/>
            <p:nvPr/>
          </p:nvSpPr>
          <p:spPr>
            <a:xfrm>
              <a:off x="6410788" y="4245072"/>
              <a:ext cx="1426910" cy="1631265"/>
            </a:xfrm>
            <a:prstGeom prst="rect">
              <a:avLst/>
            </a:prstGeom>
            <a:ln w="19050">
              <a:solidFill>
                <a:srgbClr val="86BBEC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Provide granular insights in end-to-end cargo streams</a:t>
              </a: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__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b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</a:b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Airport operator</a:t>
              </a:r>
            </a:p>
          </p:txBody>
        </p:sp>
      </p:grpSp>
      <p:sp>
        <p:nvSpPr>
          <p:cNvPr id="72" name="Rectangle 71">
            <a:extLst>
              <a:ext uri="{FF2B5EF4-FFF2-40B4-BE49-F238E27FC236}">
                <a16:creationId xmlns:a16="http://schemas.microsoft.com/office/drawing/2014/main" id="{53EBF0A3-1333-4D0D-B054-406C00213E66}"/>
              </a:ext>
            </a:extLst>
          </p:cNvPr>
          <p:cNvSpPr/>
          <p:nvPr/>
        </p:nvSpPr>
        <p:spPr>
          <a:xfrm>
            <a:off x="1098061" y="3089684"/>
            <a:ext cx="7758518" cy="31479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ommunity centric data model – CargoFlow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63F6F249-5D28-41B7-8702-CDEB37269EB1}"/>
              </a:ext>
            </a:extLst>
          </p:cNvPr>
          <p:cNvSpPr/>
          <p:nvPr/>
        </p:nvSpPr>
        <p:spPr>
          <a:xfrm>
            <a:off x="620540" y="2402737"/>
            <a:ext cx="8879006" cy="602355"/>
          </a:xfrm>
          <a:prstGeom prst="rect">
            <a:avLst/>
          </a:prstGeom>
          <a:solidFill>
            <a:srgbClr val="1C6BB5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Cargo Cloud – Cargo Community System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99B24344-7DA2-49E2-B73A-6706971C8793}"/>
              </a:ext>
            </a:extLst>
          </p:cNvPr>
          <p:cNvSpPr/>
          <p:nvPr/>
        </p:nvSpPr>
        <p:spPr>
          <a:xfrm>
            <a:off x="620540" y="2937307"/>
            <a:ext cx="8879005" cy="626418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3CD181F0-F75E-4848-8B8B-5AE4A7FB9D76}"/>
              </a:ext>
            </a:extLst>
          </p:cNvPr>
          <p:cNvCxnSpPr>
            <a:cxnSpLocks/>
          </p:cNvCxnSpPr>
          <p:nvPr/>
        </p:nvCxnSpPr>
        <p:spPr>
          <a:xfrm>
            <a:off x="622986" y="3653811"/>
            <a:ext cx="8876559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409AF94-D132-447A-BEBC-AEE5B033FBFF}"/>
              </a:ext>
            </a:extLst>
          </p:cNvPr>
          <p:cNvGrpSpPr/>
          <p:nvPr/>
        </p:nvGrpSpPr>
        <p:grpSpPr>
          <a:xfrm>
            <a:off x="2733288" y="3810728"/>
            <a:ext cx="1790186" cy="2235662"/>
            <a:chOff x="4492828" y="3678422"/>
            <a:chExt cx="1412672" cy="2210486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4755C35F-6E29-4041-9B2D-0CC15042378F}"/>
                </a:ext>
              </a:extLst>
            </p:cNvPr>
            <p:cNvSpPr/>
            <p:nvPr/>
          </p:nvSpPr>
          <p:spPr>
            <a:xfrm>
              <a:off x="4492829" y="3678422"/>
              <a:ext cx="1412671" cy="60235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19050">
              <a:solidFill>
                <a:srgbClr val="86BBEC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Check-it</a:t>
              </a:r>
              <a:endParaRPr kumimoji="0" lang="en-BE" sz="11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429030AC-947E-4402-8900-AA11A20CF386}"/>
                </a:ext>
              </a:extLst>
            </p:cNvPr>
            <p:cNvSpPr/>
            <p:nvPr/>
          </p:nvSpPr>
          <p:spPr>
            <a:xfrm>
              <a:off x="4492828" y="4257643"/>
              <a:ext cx="1412671" cy="1631265"/>
            </a:xfrm>
            <a:prstGeom prst="rect">
              <a:avLst/>
            </a:prstGeom>
            <a:ln w="19050">
              <a:solidFill>
                <a:srgbClr val="86BBEC"/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Digitize question-based operational and compliance checks/tasks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__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368EE0">
                      <a:lumMod val="50000"/>
                    </a:srgbClr>
                  </a:solidFill>
                  <a:effectLst/>
                  <a:uLnTx/>
                  <a:uFillTx/>
                  <a:latin typeface="Open Sans"/>
                  <a:ea typeface="+mn-ea"/>
                  <a:cs typeface="+mn-cs"/>
                </a:rPr>
                <a:t>GHA, FFWD</a:t>
              </a:r>
            </a:p>
          </p:txBody>
        </p:sp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49584A71-21A4-4E2D-BB5E-3A219DBE3A51}"/>
              </a:ext>
            </a:extLst>
          </p:cNvPr>
          <p:cNvSpPr/>
          <p:nvPr/>
        </p:nvSpPr>
        <p:spPr>
          <a:xfrm rot="5400000">
            <a:off x="8325038" y="3286046"/>
            <a:ext cx="4958326" cy="56236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modal / Lane Solutions</a:t>
            </a:r>
            <a:endParaRPr kumimoji="0" lang="en-BE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3166C91-E54B-450F-B11E-48C66E86D7E2}"/>
              </a:ext>
            </a:extLst>
          </p:cNvPr>
          <p:cNvSpPr/>
          <p:nvPr/>
        </p:nvSpPr>
        <p:spPr>
          <a:xfrm>
            <a:off x="620542" y="1088062"/>
            <a:ext cx="9660216" cy="602355"/>
          </a:xfrm>
          <a:prstGeom prst="rect">
            <a:avLst/>
          </a:prstGeom>
          <a:solidFill>
            <a:srgbClr val="1C6BB5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uilding Connected Cargo Communities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E842FB4C-AF9D-4A18-B008-70E8E14EE8E0}"/>
              </a:ext>
            </a:extLst>
          </p:cNvPr>
          <p:cNvSpPr/>
          <p:nvPr/>
        </p:nvSpPr>
        <p:spPr>
          <a:xfrm>
            <a:off x="620540" y="1640788"/>
            <a:ext cx="9660217" cy="626418"/>
          </a:xfrm>
          <a:prstGeom prst="rect">
            <a:avLst/>
          </a:prstGeom>
          <a:noFill/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5F5AFAE-7D25-4568-81BF-6A6FB5AABBDF}"/>
              </a:ext>
            </a:extLst>
          </p:cNvPr>
          <p:cNvSpPr/>
          <p:nvPr/>
        </p:nvSpPr>
        <p:spPr>
          <a:xfrm>
            <a:off x="1333852" y="1826290"/>
            <a:ext cx="7758518" cy="31479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50000"/>
                  </a:srgbClr>
                </a:solidFill>
                <a:effectLst/>
                <a:uLnTx/>
                <a:uFillTx/>
                <a:latin typeface="Open Sans"/>
                <a:ea typeface="+mn-ea"/>
                <a:cs typeface="+mn-cs"/>
              </a:rPr>
              <a:t>Building lane views across communities – shipment centric view</a:t>
            </a:r>
          </a:p>
        </p:txBody>
      </p:sp>
    </p:spTree>
    <p:extLst>
      <p:ext uri="{BB962C8B-B14F-4D97-AF65-F5344CB8AC3E}">
        <p14:creationId xmlns:p14="http://schemas.microsoft.com/office/powerpoint/2010/main" val="40448848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2367908-1180-84AA-8CC9-3F05336602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6473" y="1185808"/>
            <a:ext cx="6111394" cy="5072118"/>
          </a:xfrm>
        </p:spPr>
        <p:txBody>
          <a:bodyPr/>
          <a:lstStyle/>
          <a:p>
            <a:r>
              <a:rPr lang="en-SG" dirty="0"/>
              <a:t>CAG – world tour (including BAC)</a:t>
            </a:r>
          </a:p>
          <a:p>
            <a:r>
              <a:rPr lang="en-SG" dirty="0"/>
              <a:t>Want similar solution to Brussels</a:t>
            </a:r>
          </a:p>
          <a:p>
            <a:r>
              <a:rPr lang="en-SG" dirty="0"/>
              <a:t>RFP process </a:t>
            </a:r>
          </a:p>
          <a:p>
            <a:r>
              <a:rPr lang="en-SG" dirty="0"/>
              <a:t>Nallian get awarded the contract</a:t>
            </a:r>
          </a:p>
          <a:p>
            <a:r>
              <a:rPr lang="en-SG" dirty="0"/>
              <a:t>Cargo </a:t>
            </a:r>
            <a:r>
              <a:rPr lang="en-SG" dirty="0" err="1"/>
              <a:t>DiGi</a:t>
            </a:r>
            <a:r>
              <a:rPr lang="en-SG" dirty="0"/>
              <a:t>-CO Workshop organized</a:t>
            </a:r>
          </a:p>
          <a:p>
            <a:r>
              <a:rPr lang="en-SG" dirty="0"/>
              <a:t>Use Cases defined and chosen</a:t>
            </a:r>
          </a:p>
          <a:p>
            <a:r>
              <a:rPr lang="en-SG" dirty="0"/>
              <a:t>Trial period / Implementation</a:t>
            </a:r>
          </a:p>
          <a:p>
            <a:r>
              <a:rPr lang="en-SG" dirty="0"/>
              <a:t>Further development of APAC</a:t>
            </a:r>
          </a:p>
          <a:p>
            <a:r>
              <a:rPr lang="en-SG" dirty="0"/>
              <a:t>Roll-out across complete Air Cargo Community @ Changi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26F7219-8FC5-D0F6-81B1-391DDF4C4C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The Nallian Singapore story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060BC74E-D32A-2D01-3182-08A1E5D52EF3}"/>
              </a:ext>
            </a:extLst>
          </p:cNvPr>
          <p:cNvSpPr txBox="1">
            <a:spLocks/>
          </p:cNvSpPr>
          <p:nvPr/>
        </p:nvSpPr>
        <p:spPr>
          <a:xfrm>
            <a:off x="6457244" y="1185808"/>
            <a:ext cx="5841938" cy="5072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  <a:buFont typeface="Wingdings" charset="2"/>
              <a:buChar char="§"/>
              <a:defRPr sz="24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Wingdings" charset="2"/>
              <a:buChar char="§"/>
              <a:defRPr lang="en-US" sz="20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  <a:defRPr sz="18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  <a:defRPr sz="16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1"/>
              </a:buClr>
              <a:buFont typeface="Wingdings" charset="2"/>
              <a:buChar char="§"/>
              <a:defRPr sz="1600" b="0" kern="12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SG" dirty="0"/>
          </a:p>
          <a:p>
            <a:endParaRPr lang="en-SG" dirty="0"/>
          </a:p>
          <a:p>
            <a:endParaRPr lang="en-SG" dirty="0"/>
          </a:p>
          <a:p>
            <a:r>
              <a:rPr lang="en-SG" dirty="0">
                <a:solidFill>
                  <a:srgbClr val="3880C4"/>
                </a:solidFill>
              </a:rPr>
              <a:t>Set up of Nallian Singapore Pte Ltd</a:t>
            </a:r>
          </a:p>
          <a:p>
            <a:endParaRPr lang="en-SG" dirty="0"/>
          </a:p>
          <a:p>
            <a:endParaRPr lang="en-SG" dirty="0"/>
          </a:p>
          <a:p>
            <a:r>
              <a:rPr lang="en-SG" dirty="0">
                <a:solidFill>
                  <a:srgbClr val="3880C4"/>
                </a:solidFill>
              </a:rPr>
              <a:t>GVB hired</a:t>
            </a:r>
          </a:p>
        </p:txBody>
      </p:sp>
    </p:spTree>
    <p:extLst>
      <p:ext uri="{BB962C8B-B14F-4D97-AF65-F5344CB8AC3E}">
        <p14:creationId xmlns:p14="http://schemas.microsoft.com/office/powerpoint/2010/main" val="4136932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31D9A3FE-D55E-D3E9-BE2D-D32FD4E8921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SG" dirty="0"/>
              <a:t>A couple of findings I’d like to sha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528C1D6-0697-EF3C-CBD7-E12BC848EE9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SG" dirty="0"/>
              <a:t>Doing business in Singapore</a:t>
            </a:r>
          </a:p>
        </p:txBody>
      </p:sp>
    </p:spTree>
    <p:extLst>
      <p:ext uri="{BB962C8B-B14F-4D97-AF65-F5344CB8AC3E}">
        <p14:creationId xmlns:p14="http://schemas.microsoft.com/office/powerpoint/2010/main" val="18515298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F129728-D4B3-6B8F-4348-85C26D9EC2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9531" y="431800"/>
            <a:ext cx="3692606" cy="24440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2350FD4-437C-5DE4-536D-7CE5080C004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28374" y="3159394"/>
            <a:ext cx="3833670" cy="3495405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8FDDC20-0BB7-DBF7-77DB-A2D8956351F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18097" y="774416"/>
            <a:ext cx="5273903" cy="4746513"/>
          </a:xfrm>
          <a:prstGeom prst="rect">
            <a:avLst/>
          </a:prstGeom>
        </p:spPr>
      </p:pic>
      <p:pic>
        <p:nvPicPr>
          <p:cNvPr id="9" name="Graphic 8" descr="Close with solid fill">
            <a:extLst>
              <a:ext uri="{FF2B5EF4-FFF2-40B4-BE49-F238E27FC236}">
                <a16:creationId xmlns:a16="http://schemas.microsoft.com/office/drawing/2014/main" id="{DCCBC17C-5B3C-82A4-4076-A7E9BEDC9C6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918097" y="522443"/>
            <a:ext cx="5189735" cy="5189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4884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A6CF3E1-C71D-3C01-440D-DA5A07B9A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SG" dirty="0"/>
              <a:t>Country run like a company</a:t>
            </a:r>
            <a:br>
              <a:rPr lang="en-SG" dirty="0"/>
            </a:br>
            <a:r>
              <a:rPr lang="en-SG" dirty="0">
                <a:hlinkClick r:id="rId2"/>
              </a:rPr>
              <a:t>https://ukdiss.com/litreview/how-singapore-and-malaysia-dealt-with-financial-crisis.php</a:t>
            </a:r>
            <a:br>
              <a:rPr lang="en-SG" dirty="0"/>
            </a:br>
            <a:endParaRPr lang="en-SG" dirty="0"/>
          </a:p>
          <a:p>
            <a:r>
              <a:rPr lang="en-SG" dirty="0"/>
              <a:t>Very business oriented </a:t>
            </a:r>
          </a:p>
          <a:p>
            <a:pPr lvl="1"/>
            <a:r>
              <a:rPr lang="en-SG" dirty="0"/>
              <a:t>Employer protected </a:t>
            </a:r>
          </a:p>
          <a:p>
            <a:pPr lvl="1"/>
            <a:r>
              <a:rPr lang="en-SG" dirty="0"/>
              <a:t>Easy to set up companies</a:t>
            </a:r>
          </a:p>
          <a:p>
            <a:pPr lvl="1"/>
            <a:r>
              <a:rPr lang="en-SG" dirty="0"/>
              <a:t>Low (Corporate) taxes</a:t>
            </a:r>
          </a:p>
          <a:p>
            <a:pPr lvl="1"/>
            <a:r>
              <a:rPr lang="en-SG" dirty="0"/>
              <a:t>Lots of Government support</a:t>
            </a:r>
            <a:br>
              <a:rPr lang="en-SG" dirty="0"/>
            </a:br>
            <a:endParaRPr lang="en-SG" dirty="0"/>
          </a:p>
          <a:p>
            <a:r>
              <a:rPr lang="en-SG" dirty="0"/>
              <a:t>Real, long term planning</a:t>
            </a:r>
            <a:br>
              <a:rPr lang="en-SG" dirty="0"/>
            </a:br>
            <a:r>
              <a:rPr lang="en-SG" dirty="0">
                <a:hlinkClick r:id="rId3"/>
              </a:rPr>
              <a:t>https://www.straitstimes.com/multimedia/graphics/2021/08/sg-2030/index.html?shell</a:t>
            </a:r>
            <a:endParaRPr lang="en-SG" dirty="0"/>
          </a:p>
          <a:p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7BE693-36DE-82A1-5D43-574A2D197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ingapore Business environment / Government</a:t>
            </a:r>
          </a:p>
        </p:txBody>
      </p:sp>
    </p:spTree>
    <p:extLst>
      <p:ext uri="{BB962C8B-B14F-4D97-AF65-F5344CB8AC3E}">
        <p14:creationId xmlns:p14="http://schemas.microsoft.com/office/powerpoint/2010/main" val="7241960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A6CF3E1-C71D-3C01-440D-DA5A07B9AE6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SG" dirty="0"/>
              <a:t>But…</a:t>
            </a:r>
            <a:br>
              <a:rPr lang="en-SG" dirty="0"/>
            </a:br>
            <a:endParaRPr lang="en-SG" dirty="0"/>
          </a:p>
          <a:p>
            <a:r>
              <a:rPr lang="en-SG" dirty="0"/>
              <a:t>Expensive…</a:t>
            </a:r>
            <a:br>
              <a:rPr lang="en-SG" dirty="0"/>
            </a:br>
            <a:endParaRPr lang="en-SG" dirty="0"/>
          </a:p>
          <a:p>
            <a:r>
              <a:rPr lang="en-SG" dirty="0"/>
              <a:t>Since Covid – more “eigen volk </a:t>
            </a:r>
            <a:r>
              <a:rPr lang="en-SG" dirty="0" err="1"/>
              <a:t>eerst</a:t>
            </a:r>
            <a:r>
              <a:rPr lang="en-SG" dirty="0"/>
              <a:t>”…</a:t>
            </a:r>
            <a:br>
              <a:rPr lang="en-SG" dirty="0"/>
            </a:br>
            <a:endParaRPr lang="en-SG" dirty="0"/>
          </a:p>
          <a:p>
            <a:r>
              <a:rPr lang="en-SG" dirty="0"/>
              <a:t>Next year’s election…</a:t>
            </a:r>
          </a:p>
          <a:p>
            <a:endParaRPr lang="en-SG" dirty="0"/>
          </a:p>
          <a:p>
            <a:r>
              <a:rPr lang="en-SG" dirty="0"/>
              <a:t>China’s influence increasing…</a:t>
            </a:r>
          </a:p>
          <a:p>
            <a:endParaRPr lang="en-SG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B7BE693-36DE-82A1-5D43-574A2D197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ingapore Business environment / Government</a:t>
            </a:r>
          </a:p>
        </p:txBody>
      </p:sp>
    </p:spTree>
    <p:extLst>
      <p:ext uri="{BB962C8B-B14F-4D97-AF65-F5344CB8AC3E}">
        <p14:creationId xmlns:p14="http://schemas.microsoft.com/office/powerpoint/2010/main" val="1559283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D5FCC3BC-CB8E-1823-43DB-39BC74BCFA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9200" y="728662"/>
            <a:ext cx="9753600" cy="54006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1128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F6AF67A-31C5-1844-D479-5020E88297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SG" dirty="0"/>
              <a:t>Quick intro GVB</a:t>
            </a:r>
          </a:p>
          <a:p>
            <a:endParaRPr lang="en-SG" dirty="0"/>
          </a:p>
          <a:p>
            <a:r>
              <a:rPr lang="en-SG" dirty="0"/>
              <a:t>Nallian</a:t>
            </a:r>
          </a:p>
          <a:p>
            <a:pPr lvl="1"/>
            <a:r>
              <a:rPr lang="en-SG" dirty="0"/>
              <a:t>What do we do?</a:t>
            </a:r>
          </a:p>
          <a:p>
            <a:pPr lvl="1"/>
            <a:r>
              <a:rPr lang="en-SG" dirty="0"/>
              <a:t>The Nallian Singapore story</a:t>
            </a:r>
          </a:p>
          <a:p>
            <a:endParaRPr lang="en-SG" dirty="0"/>
          </a:p>
          <a:p>
            <a:r>
              <a:rPr lang="en-SG" dirty="0"/>
              <a:t>Doing business in Singapore</a:t>
            </a:r>
          </a:p>
          <a:p>
            <a:endParaRPr lang="en-SG" dirty="0"/>
          </a:p>
          <a:p>
            <a:r>
              <a:rPr lang="en-SG" dirty="0"/>
              <a:t>Q&amp;A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D2C0E91-70CA-E1C9-9198-0F70BF4C6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52106548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7EFE650-59DD-2D09-FA9E-7730427D4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SG" dirty="0"/>
              <a:t>Saving/Losing Fac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4BA1EC8-F454-BA57-EDCA-4579FBE2BE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64907" y="1040180"/>
            <a:ext cx="8696130" cy="5435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50447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528C1D6-0697-EF3C-CBD7-E12BC848EE9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SG" dirty="0"/>
              <a:t>Q&amp;A</a:t>
            </a:r>
          </a:p>
        </p:txBody>
      </p:sp>
    </p:spTree>
    <p:extLst>
      <p:ext uri="{BB962C8B-B14F-4D97-AF65-F5344CB8AC3E}">
        <p14:creationId xmlns:p14="http://schemas.microsoft.com/office/powerpoint/2010/main" val="11143656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>
            <a:extLst>
              <a:ext uri="{FF2B5EF4-FFF2-40B4-BE49-F238E27FC236}">
                <a16:creationId xmlns:a16="http://schemas.microsoft.com/office/drawing/2014/main" id="{F3D87001-2D18-403F-95FE-4CD1F76F55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Geert Van Brempt | Managing Director, Asia Pacific</a:t>
            </a:r>
            <a:endParaRPr lang="en-BE" dirty="0"/>
          </a:p>
          <a:p>
            <a:endParaRPr lang="en-BE" dirty="0"/>
          </a:p>
        </p:txBody>
      </p:sp>
    </p:spTree>
    <p:extLst>
      <p:ext uri="{BB962C8B-B14F-4D97-AF65-F5344CB8AC3E}">
        <p14:creationId xmlns:p14="http://schemas.microsoft.com/office/powerpoint/2010/main" val="3897394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miling for the camera&#10;&#10;Description automatically generated with low confidence">
            <a:extLst>
              <a:ext uri="{FF2B5EF4-FFF2-40B4-BE49-F238E27FC236}">
                <a16:creationId xmlns:a16="http://schemas.microsoft.com/office/drawing/2014/main" id="{31488371-939B-05A4-2F4C-DBAD4EB01D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29870" y="594100"/>
            <a:ext cx="3838823" cy="455639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A05E074-3844-855E-207B-92D8CF8F7250}"/>
              </a:ext>
            </a:extLst>
          </p:cNvPr>
          <p:cNvSpPr txBox="1"/>
          <p:nvPr/>
        </p:nvSpPr>
        <p:spPr>
          <a:xfrm>
            <a:off x="1707502" y="5402424"/>
            <a:ext cx="5775649" cy="8853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SG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Geert Van Brempt 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  <a:buClr>
                <a:schemeClr val="accent1"/>
              </a:buClr>
            </a:pPr>
            <a:r>
              <a:rPr lang="en-SG" sz="24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naging Director APAC, Nallian </a:t>
            </a:r>
          </a:p>
        </p:txBody>
      </p:sp>
    </p:spTree>
    <p:extLst>
      <p:ext uri="{BB962C8B-B14F-4D97-AF65-F5344CB8AC3E}">
        <p14:creationId xmlns:p14="http://schemas.microsoft.com/office/powerpoint/2010/main" val="4249736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>
            <a:extLst>
              <a:ext uri="{FF2B5EF4-FFF2-40B4-BE49-F238E27FC236}">
                <a16:creationId xmlns:a16="http://schemas.microsoft.com/office/drawing/2014/main" id="{C91B246C-70FA-5B34-C2D3-06DAA59E5C9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CDC458-E47A-57F7-8162-115D1CEDD4A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SG" dirty="0"/>
              <a:t>Nallian</a:t>
            </a:r>
          </a:p>
        </p:txBody>
      </p:sp>
    </p:spTree>
    <p:extLst>
      <p:ext uri="{BB962C8B-B14F-4D97-AF65-F5344CB8AC3E}">
        <p14:creationId xmlns:p14="http://schemas.microsoft.com/office/powerpoint/2010/main" val="376378131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>
            <a:extLst>
              <a:ext uri="{FF2B5EF4-FFF2-40B4-BE49-F238E27FC236}">
                <a16:creationId xmlns:a16="http://schemas.microsoft.com/office/drawing/2014/main" id="{0CBF2DBD-717A-4096-AEB4-A3A3B9FF0BC0}"/>
              </a:ext>
            </a:extLst>
          </p:cNvPr>
          <p:cNvSpPr/>
          <p:nvPr/>
        </p:nvSpPr>
        <p:spPr>
          <a:xfrm>
            <a:off x="5556634" y="175138"/>
            <a:ext cx="3528762" cy="289640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53968C14-4863-4DB7-8C4A-ECD51D5567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79294" y="110476"/>
            <a:ext cx="1139897" cy="656985"/>
          </a:xfrm>
          <a:prstGeom prst="rect">
            <a:avLst/>
          </a:prstGeom>
        </p:spPr>
      </p:pic>
      <p:pic>
        <p:nvPicPr>
          <p:cNvPr id="13" name="Picture 12" descr="A picture containing drawing&#10;&#10;Description automatically generated">
            <a:extLst>
              <a:ext uri="{FF2B5EF4-FFF2-40B4-BE49-F238E27FC236}">
                <a16:creationId xmlns:a16="http://schemas.microsoft.com/office/drawing/2014/main" id="{8AD84638-7E7F-4BCC-A131-25F65CE0E72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0358" y="1496504"/>
            <a:ext cx="1100711" cy="195752"/>
          </a:xfrm>
          <a:prstGeom prst="rect">
            <a:avLst/>
          </a:prstGeom>
        </p:spPr>
      </p:pic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6CE13409-EFA0-4250-AF66-5666D94D7ED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2935" y="133029"/>
            <a:ext cx="947119" cy="456511"/>
          </a:xfrm>
          <a:prstGeom prst="rect">
            <a:avLst/>
          </a:prstGeom>
        </p:spPr>
      </p:pic>
      <p:pic>
        <p:nvPicPr>
          <p:cNvPr id="15" name="Picture 14" descr="A picture containing drawing&#10;&#10;Description automatically generated">
            <a:extLst>
              <a:ext uri="{FF2B5EF4-FFF2-40B4-BE49-F238E27FC236}">
                <a16:creationId xmlns:a16="http://schemas.microsoft.com/office/drawing/2014/main" id="{E040FF62-5708-450E-B57A-74D677E59F7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04015" y="1401737"/>
            <a:ext cx="1132077" cy="350271"/>
          </a:xfrm>
          <a:prstGeom prst="rect">
            <a:avLst/>
          </a:prstGeom>
        </p:spPr>
      </p:pic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0C3041E4-2FB6-4C59-8FD3-79959906741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28375" y="2031840"/>
            <a:ext cx="511490" cy="265190"/>
          </a:xfrm>
          <a:prstGeom prst="rect">
            <a:avLst/>
          </a:prstGeom>
        </p:spPr>
      </p:pic>
      <p:pic>
        <p:nvPicPr>
          <p:cNvPr id="17" name="Picture 16" descr="A picture containing clock&#10;&#10;Description automatically generated">
            <a:extLst>
              <a:ext uri="{FF2B5EF4-FFF2-40B4-BE49-F238E27FC236}">
                <a16:creationId xmlns:a16="http://schemas.microsoft.com/office/drawing/2014/main" id="{5FD31CED-FDEF-4CE1-A600-44681792C89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4260" y="2620676"/>
            <a:ext cx="824282" cy="231211"/>
          </a:xfrm>
          <a:prstGeom prst="rect">
            <a:avLst/>
          </a:prstGeom>
        </p:spPr>
      </p:pic>
      <p:pic>
        <p:nvPicPr>
          <p:cNvPr id="18" name="Picture 17" descr="A picture containing drawing, clock&#10;&#10;Description automatically generated">
            <a:extLst>
              <a:ext uri="{FF2B5EF4-FFF2-40B4-BE49-F238E27FC236}">
                <a16:creationId xmlns:a16="http://schemas.microsoft.com/office/drawing/2014/main" id="{4EF25EC5-D470-4D44-9956-61E3676E2679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1467" y="2053414"/>
            <a:ext cx="737828" cy="204632"/>
          </a:xfrm>
          <a:prstGeom prst="rect">
            <a:avLst/>
          </a:prstGeom>
        </p:spPr>
      </p:pic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7CDEBBA8-0B7E-4D33-B2C1-F1D55567A0C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7802" y="2082186"/>
            <a:ext cx="853437" cy="175860"/>
          </a:xfrm>
          <a:prstGeom prst="rect">
            <a:avLst/>
          </a:prstGeom>
        </p:spPr>
      </p:pic>
      <p:pic>
        <p:nvPicPr>
          <p:cNvPr id="21" name="Picture 20" descr="A picture containing yellow, food, drawing&#10;&#10;Description automatically generated">
            <a:extLst>
              <a:ext uri="{FF2B5EF4-FFF2-40B4-BE49-F238E27FC236}">
                <a16:creationId xmlns:a16="http://schemas.microsoft.com/office/drawing/2014/main" id="{C978D802-A045-4B3A-BD42-744ED6D446F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0398" y="3127520"/>
            <a:ext cx="543988" cy="349378"/>
          </a:xfrm>
          <a:prstGeom prst="rect">
            <a:avLst/>
          </a:prstGeom>
        </p:spPr>
      </p:pic>
      <p:pic>
        <p:nvPicPr>
          <p:cNvPr id="22" name="Picture 21" descr="A close up of a logo&#10;&#10;Description automatically generated">
            <a:extLst>
              <a:ext uri="{FF2B5EF4-FFF2-40B4-BE49-F238E27FC236}">
                <a16:creationId xmlns:a16="http://schemas.microsoft.com/office/drawing/2014/main" id="{87ADB2EE-4FB3-4065-9968-01C77F915BB0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546" b="36530"/>
          <a:stretch/>
        </p:blipFill>
        <p:spPr>
          <a:xfrm>
            <a:off x="9358312" y="5368911"/>
            <a:ext cx="1445703" cy="264441"/>
          </a:xfrm>
          <a:prstGeom prst="rect">
            <a:avLst/>
          </a:prstGeom>
        </p:spPr>
      </p:pic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9CC999E1-3DD6-4514-A6D2-0E171073CB45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74171" y="4269950"/>
            <a:ext cx="1338751" cy="272288"/>
          </a:xfrm>
          <a:prstGeom prst="rect">
            <a:avLst/>
          </a:prstGeom>
        </p:spPr>
      </p:pic>
      <p:pic>
        <p:nvPicPr>
          <p:cNvPr id="26" name="Picture 25" descr="A close up of a logo&#10;&#10;Description automatically generated">
            <a:extLst>
              <a:ext uri="{FF2B5EF4-FFF2-40B4-BE49-F238E27FC236}">
                <a16:creationId xmlns:a16="http://schemas.microsoft.com/office/drawing/2014/main" id="{DD877435-3A72-4E8E-947E-A09633F1CEC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841628" y="3534084"/>
            <a:ext cx="1211241" cy="692138"/>
          </a:xfrm>
          <a:prstGeom prst="rect">
            <a:avLst/>
          </a:prstGeom>
        </p:spPr>
      </p:pic>
      <p:pic>
        <p:nvPicPr>
          <p:cNvPr id="29" name="Picture 28" descr="A close up of a sign&#10;&#10;Description automatically generated">
            <a:extLst>
              <a:ext uri="{FF2B5EF4-FFF2-40B4-BE49-F238E27FC236}">
                <a16:creationId xmlns:a16="http://schemas.microsoft.com/office/drawing/2014/main" id="{854DCA81-33C7-49DF-9C18-2FDFA4764673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77941" y="4690060"/>
            <a:ext cx="358151" cy="426946"/>
          </a:xfrm>
          <a:prstGeom prst="rect">
            <a:avLst/>
          </a:prstGeom>
        </p:spPr>
      </p:pic>
      <p:pic>
        <p:nvPicPr>
          <p:cNvPr id="31" name="Picture 30" descr="A close up of a logo&#10;&#10;Description automatically generated">
            <a:extLst>
              <a:ext uri="{FF2B5EF4-FFF2-40B4-BE49-F238E27FC236}">
                <a16:creationId xmlns:a16="http://schemas.microsoft.com/office/drawing/2014/main" id="{B211C052-2223-4972-86D5-018EADA401D5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144" b="25369"/>
          <a:stretch/>
        </p:blipFill>
        <p:spPr>
          <a:xfrm>
            <a:off x="9239613" y="4257164"/>
            <a:ext cx="1321913" cy="264441"/>
          </a:xfrm>
          <a:prstGeom prst="rect">
            <a:avLst/>
          </a:prstGeom>
        </p:spPr>
      </p:pic>
      <p:pic>
        <p:nvPicPr>
          <p:cNvPr id="33" name="Picture 32" descr="A screenshot of a cell phone&#10;&#10;Description automatically generated">
            <a:extLst>
              <a:ext uri="{FF2B5EF4-FFF2-40B4-BE49-F238E27FC236}">
                <a16:creationId xmlns:a16="http://schemas.microsoft.com/office/drawing/2014/main" id="{DD81F7E4-0586-4993-8069-9D9BC44B31D1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146" b="26761"/>
          <a:stretch/>
        </p:blipFill>
        <p:spPr>
          <a:xfrm>
            <a:off x="10971401" y="5407289"/>
            <a:ext cx="1245782" cy="278217"/>
          </a:xfrm>
          <a:prstGeom prst="rect">
            <a:avLst/>
          </a:prstGeom>
        </p:spPr>
      </p:pic>
      <p:pic>
        <p:nvPicPr>
          <p:cNvPr id="34" name="Picture 33" descr="A picture containing drawing&#10;&#10;Description automatically generated">
            <a:extLst>
              <a:ext uri="{FF2B5EF4-FFF2-40B4-BE49-F238E27FC236}">
                <a16:creationId xmlns:a16="http://schemas.microsoft.com/office/drawing/2014/main" id="{AC75F5C7-F175-4EAD-AA2D-0FB0F29E6950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7976" y="3649492"/>
            <a:ext cx="667944" cy="379811"/>
          </a:xfrm>
          <a:prstGeom prst="rect">
            <a:avLst/>
          </a:prstGeom>
        </p:spPr>
      </p:pic>
      <p:pic>
        <p:nvPicPr>
          <p:cNvPr id="36" name="Picture 35" descr="A picture containing drawing, plate&#10;&#10;Description automatically generated">
            <a:extLst>
              <a:ext uri="{FF2B5EF4-FFF2-40B4-BE49-F238E27FC236}">
                <a16:creationId xmlns:a16="http://schemas.microsoft.com/office/drawing/2014/main" id="{5E0A6651-4324-4ACC-A684-9E9B39C4CE4A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1044" y="3246702"/>
            <a:ext cx="869529" cy="204632"/>
          </a:xfrm>
          <a:prstGeom prst="rect">
            <a:avLst/>
          </a:prstGeom>
        </p:spPr>
      </p:pic>
      <p:pic>
        <p:nvPicPr>
          <p:cNvPr id="37" name="Picture 36" descr="A picture containing clock&#10;&#10;Description automatically generated">
            <a:extLst>
              <a:ext uri="{FF2B5EF4-FFF2-40B4-BE49-F238E27FC236}">
                <a16:creationId xmlns:a16="http://schemas.microsoft.com/office/drawing/2014/main" id="{53DC9077-5C08-475F-80F2-EDB8F9CDD991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66222" y="3253602"/>
            <a:ext cx="620588" cy="190831"/>
          </a:xfrm>
          <a:prstGeom prst="rect">
            <a:avLst/>
          </a:prstGeom>
        </p:spPr>
      </p:pic>
      <p:pic>
        <p:nvPicPr>
          <p:cNvPr id="40" name="Picture 39" descr="A close up of a logo&#10;&#10;Description automatically generated">
            <a:extLst>
              <a:ext uri="{FF2B5EF4-FFF2-40B4-BE49-F238E27FC236}">
                <a16:creationId xmlns:a16="http://schemas.microsoft.com/office/drawing/2014/main" id="{E99B8D1A-04AA-45EB-BA4B-C69F2A74F129}"/>
              </a:ext>
            </a:extLst>
          </p:cNvPr>
          <p:cNvPicPr>
            <a:picLocks noChangeAspect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58405" y="5737961"/>
            <a:ext cx="763389" cy="304507"/>
          </a:xfrm>
          <a:prstGeom prst="rect">
            <a:avLst/>
          </a:prstGeom>
        </p:spPr>
      </p:pic>
      <p:pic>
        <p:nvPicPr>
          <p:cNvPr id="42" name="Picture 41" descr="A close up of a sign&#10;&#10;Description automatically generated">
            <a:extLst>
              <a:ext uri="{FF2B5EF4-FFF2-40B4-BE49-F238E27FC236}">
                <a16:creationId xmlns:a16="http://schemas.microsoft.com/office/drawing/2014/main" id="{43741ED3-6792-4437-ADF4-F86AACCC0ADD}"/>
              </a:ext>
            </a:extLst>
          </p:cNvPr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6954" y="4797803"/>
            <a:ext cx="992341" cy="296927"/>
          </a:xfrm>
          <a:prstGeom prst="rect">
            <a:avLst/>
          </a:prstGeom>
        </p:spPr>
      </p:pic>
      <p:pic>
        <p:nvPicPr>
          <p:cNvPr id="43" name="Picture 42" descr="A close up of a logo&#10;&#10;Description automatically generated">
            <a:extLst>
              <a:ext uri="{FF2B5EF4-FFF2-40B4-BE49-F238E27FC236}">
                <a16:creationId xmlns:a16="http://schemas.microsoft.com/office/drawing/2014/main" id="{A58C5EFB-175B-47C1-9606-ED6633648259}"/>
              </a:ext>
            </a:extLst>
          </p:cNvPr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3097" y="4648056"/>
            <a:ext cx="547025" cy="54702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5C7B114E-0A01-4495-8208-E001313FFA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28375" y="155418"/>
            <a:ext cx="517783" cy="5177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>
            <a:extLst>
              <a:ext uri="{FF2B5EF4-FFF2-40B4-BE49-F238E27FC236}">
                <a16:creationId xmlns:a16="http://schemas.microsoft.com/office/drawing/2014/main" id="{68016505-7CDA-4107-8089-49BC440724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2027" y="919944"/>
            <a:ext cx="1303040" cy="2494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hangi Airport logo - Singapore Changi Airport">
            <a:extLst>
              <a:ext uri="{FF2B5EF4-FFF2-40B4-BE49-F238E27FC236}">
                <a16:creationId xmlns:a16="http://schemas.microsoft.com/office/drawing/2014/main" id="{A0BC53DF-E12B-4A2C-BDA4-E6468976DB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49802" y="753590"/>
            <a:ext cx="797409" cy="4665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>
            <a:extLst>
              <a:ext uri="{FF2B5EF4-FFF2-40B4-BE49-F238E27FC236}">
                <a16:creationId xmlns:a16="http://schemas.microsoft.com/office/drawing/2014/main" id="{2A3A5218-B772-4894-9EE3-A69CB19524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049" y="2504635"/>
            <a:ext cx="351352" cy="4918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>
            <a:extLst>
              <a:ext uri="{FF2B5EF4-FFF2-40B4-BE49-F238E27FC236}">
                <a16:creationId xmlns:a16="http://schemas.microsoft.com/office/drawing/2014/main" id="{6D29DCD2-9EC4-4395-A8E2-42966A1A039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8426" y="2483588"/>
            <a:ext cx="529062" cy="532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8" name="Picture 14">
            <a:extLst>
              <a:ext uri="{FF2B5EF4-FFF2-40B4-BE49-F238E27FC236}">
                <a16:creationId xmlns:a16="http://schemas.microsoft.com/office/drawing/2014/main" id="{F8EFEECA-73B6-4821-A832-B26A08DDF3F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47249" y="6259130"/>
            <a:ext cx="542981" cy="3868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50" descr="A picture containing drawing&#10;&#10;Description automatically generated">
            <a:extLst>
              <a:ext uri="{FF2B5EF4-FFF2-40B4-BE49-F238E27FC236}">
                <a16:creationId xmlns:a16="http://schemas.microsoft.com/office/drawing/2014/main" id="{3ACFCB6D-9385-4321-8C75-323A58AC78CA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10019596" y="3708567"/>
            <a:ext cx="762000" cy="348575"/>
          </a:xfrm>
          <a:prstGeom prst="rect">
            <a:avLst/>
          </a:prstGeom>
        </p:spPr>
      </p:pic>
      <p:pic>
        <p:nvPicPr>
          <p:cNvPr id="1040" name="Picture 16">
            <a:extLst>
              <a:ext uri="{FF2B5EF4-FFF2-40B4-BE49-F238E27FC236}">
                <a16:creationId xmlns:a16="http://schemas.microsoft.com/office/drawing/2014/main" id="{E9B794E4-58C2-45F9-B4FC-52010775F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9927" y="6390128"/>
            <a:ext cx="703659" cy="255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2" name="Picture 18">
            <a:extLst>
              <a:ext uri="{FF2B5EF4-FFF2-40B4-BE49-F238E27FC236}">
                <a16:creationId xmlns:a16="http://schemas.microsoft.com/office/drawing/2014/main" id="{A531D831-B275-4151-9286-88DB2DFE80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73802" y="6321522"/>
            <a:ext cx="759328" cy="3520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>
            <a:extLst>
              <a:ext uri="{FF2B5EF4-FFF2-40B4-BE49-F238E27FC236}">
                <a16:creationId xmlns:a16="http://schemas.microsoft.com/office/drawing/2014/main" id="{228A6865-7858-40C7-9F87-D78BBD0B77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45141" y="5796565"/>
            <a:ext cx="1374337" cy="2123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2BC69C0E-25E1-4DAC-8336-18A7485651F7}"/>
              </a:ext>
            </a:extLst>
          </p:cNvPr>
          <p:cNvSpPr/>
          <p:nvPr/>
        </p:nvSpPr>
        <p:spPr>
          <a:xfrm>
            <a:off x="142298" y="3293615"/>
            <a:ext cx="2312964" cy="1785883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E06C594-1050-43E4-9EDA-CD8B89D35C6A}"/>
              </a:ext>
            </a:extLst>
          </p:cNvPr>
          <p:cNvSpPr/>
          <p:nvPr/>
        </p:nvSpPr>
        <p:spPr>
          <a:xfrm>
            <a:off x="151147" y="5340821"/>
            <a:ext cx="2304116" cy="130518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43D018C-8F3E-48BD-875C-B68DB0C81689}"/>
              </a:ext>
            </a:extLst>
          </p:cNvPr>
          <p:cNvSpPr txBox="1"/>
          <p:nvPr/>
        </p:nvSpPr>
        <p:spPr>
          <a:xfrm>
            <a:off x="1208837" y="5501132"/>
            <a:ext cx="104591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U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S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IA</a:t>
            </a:r>
            <a:endParaRPr kumimoji="0" lang="en-BE" sz="20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226A6C7-3F43-4EB9-8C28-6AA9C5DE7E4B}"/>
              </a:ext>
            </a:extLst>
          </p:cNvPr>
          <p:cNvGrpSpPr/>
          <p:nvPr/>
        </p:nvGrpSpPr>
        <p:grpSpPr>
          <a:xfrm>
            <a:off x="3033071" y="5340820"/>
            <a:ext cx="2938785" cy="1305185"/>
            <a:chOff x="3162167" y="5340820"/>
            <a:chExt cx="2555643" cy="1305185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BBCA793B-2EEC-4E5D-8A4A-1A27C19D82C7}"/>
                </a:ext>
              </a:extLst>
            </p:cNvPr>
            <p:cNvSpPr/>
            <p:nvPr/>
          </p:nvSpPr>
          <p:spPr>
            <a:xfrm>
              <a:off x="3162167" y="5340820"/>
              <a:ext cx="2555643" cy="130518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6" name="Graphic 55" descr="Building with solid fill">
              <a:extLst>
                <a:ext uri="{FF2B5EF4-FFF2-40B4-BE49-F238E27FC236}">
                  <a16:creationId xmlns:a16="http://schemas.microsoft.com/office/drawing/2014/main" id="{57001DA6-1840-4BBD-ABB4-EE57F13226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4">
              <a:extLst>
                <a:ext uri="{96DAC541-7B7A-43D3-8B79-37D633B846F1}">
                  <asvg:svgBlip xmlns:asvg="http://schemas.microsoft.com/office/drawing/2016/SVG/main" r:embed="rId35"/>
                </a:ext>
              </a:extLst>
            </a:blip>
            <a:stretch>
              <a:fillRect/>
            </a:stretch>
          </p:blipFill>
          <p:spPr>
            <a:xfrm>
              <a:off x="3441787" y="5662883"/>
              <a:ext cx="680115" cy="680115"/>
            </a:xfrm>
            <a:prstGeom prst="rect">
              <a:avLst/>
            </a:prstGeom>
          </p:spPr>
        </p:pic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32F5ECC5-3F19-4CF9-9320-687FD0E4C86C}"/>
                </a:ext>
              </a:extLst>
            </p:cNvPr>
            <p:cNvSpPr txBox="1"/>
            <p:nvPr/>
          </p:nvSpPr>
          <p:spPr>
            <a:xfrm>
              <a:off x="4303027" y="5516170"/>
              <a:ext cx="1404042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Brussels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ingapore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ietnam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B9CFC7C-A343-436F-A5F8-33EAFA1E4E3E}"/>
              </a:ext>
            </a:extLst>
          </p:cNvPr>
          <p:cNvGrpSpPr/>
          <p:nvPr/>
        </p:nvGrpSpPr>
        <p:grpSpPr>
          <a:xfrm>
            <a:off x="6547883" y="5340819"/>
            <a:ext cx="2584702" cy="1305185"/>
            <a:chOff x="6278934" y="5340819"/>
            <a:chExt cx="2584702" cy="1305185"/>
          </a:xfrm>
        </p:grpSpPr>
        <p:sp>
          <p:nvSpPr>
            <p:cNvPr id="88" name="Rectangle 87">
              <a:extLst>
                <a:ext uri="{FF2B5EF4-FFF2-40B4-BE49-F238E27FC236}">
                  <a16:creationId xmlns:a16="http://schemas.microsoft.com/office/drawing/2014/main" id="{CFE0A80B-8058-4864-B724-93D98B9C3D42}"/>
                </a:ext>
              </a:extLst>
            </p:cNvPr>
            <p:cNvSpPr/>
            <p:nvPr/>
          </p:nvSpPr>
          <p:spPr>
            <a:xfrm>
              <a:off x="6278934" y="5340819"/>
              <a:ext cx="2555643" cy="1305185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BE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283F46D-473E-435A-B23C-F487B91BBD00}"/>
                </a:ext>
              </a:extLst>
            </p:cNvPr>
            <p:cNvSpPr txBox="1"/>
            <p:nvPr/>
          </p:nvSpPr>
          <p:spPr>
            <a:xfrm>
              <a:off x="7541723" y="5533582"/>
              <a:ext cx="132191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0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>
                      <a:lumMod val="95000"/>
                    </a:srgb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&amp; growing</a:t>
              </a:r>
              <a:endParaRPr kumimoji="0" lang="en-B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0" name="Graphic 59" descr="Users with solid fill">
              <a:extLst>
                <a:ext uri="{FF2B5EF4-FFF2-40B4-BE49-F238E27FC236}">
                  <a16:creationId xmlns:a16="http://schemas.microsoft.com/office/drawing/2014/main" id="{CB7A0FBE-463C-4E96-854F-802A5EFBA70E}"/>
                </a:ext>
              </a:extLst>
            </p:cNvPr>
            <p:cNvPicPr>
              <a:picLocks noChangeAspect="1"/>
            </p:cNvPicPr>
            <p:nvPr/>
          </p:nvPicPr>
          <p:blipFill>
            <a:blip r:embed="rId36">
              <a:extLst>
                <a:ext uri="{96DAC541-7B7A-43D3-8B79-37D633B846F1}">
                  <asvg:svgBlip xmlns:asvg="http://schemas.microsoft.com/office/drawing/2016/SVG/main" r:embed="rId37"/>
                </a:ext>
              </a:extLst>
            </a:blip>
            <a:stretch>
              <a:fillRect/>
            </a:stretch>
          </p:blipFill>
          <p:spPr>
            <a:xfrm>
              <a:off x="6568070" y="5647499"/>
              <a:ext cx="767972" cy="767972"/>
            </a:xfrm>
            <a:prstGeom prst="rect">
              <a:avLst/>
            </a:prstGeom>
          </p:spPr>
        </p:pic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97AC8D39-6A6C-406E-947B-E9E3E59B8796}"/>
              </a:ext>
            </a:extLst>
          </p:cNvPr>
          <p:cNvSpPr txBox="1"/>
          <p:nvPr/>
        </p:nvSpPr>
        <p:spPr>
          <a:xfrm>
            <a:off x="1111822" y="3496603"/>
            <a:ext cx="1335178" cy="16158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fficiency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sibility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ol</a:t>
            </a:r>
            <a:endParaRPr kumimoji="0" lang="en-BE" sz="18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4" name="Graphic 73" descr="Single gear with solid fill">
            <a:extLst>
              <a:ext uri="{FF2B5EF4-FFF2-40B4-BE49-F238E27FC236}">
                <a16:creationId xmlns:a16="http://schemas.microsoft.com/office/drawing/2014/main" id="{669E3013-EC01-419E-A932-AECDE946A86C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474052" y="3540070"/>
            <a:ext cx="452469" cy="452469"/>
          </a:xfrm>
          <a:prstGeom prst="rect">
            <a:avLst/>
          </a:prstGeom>
        </p:spPr>
      </p:pic>
      <p:pic>
        <p:nvPicPr>
          <p:cNvPr id="76" name="Graphic 75" descr="Eye with solid fill">
            <a:extLst>
              <a:ext uri="{FF2B5EF4-FFF2-40B4-BE49-F238E27FC236}">
                <a16:creationId xmlns:a16="http://schemas.microsoft.com/office/drawing/2014/main" id="{EFAEEEED-7B7B-402E-9478-E9F5A0E0351F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466803" y="3960986"/>
            <a:ext cx="452469" cy="452469"/>
          </a:xfrm>
          <a:prstGeom prst="rect">
            <a:avLst/>
          </a:prstGeom>
        </p:spPr>
      </p:pic>
      <p:pic>
        <p:nvPicPr>
          <p:cNvPr id="3" name="Picture 2" descr="Diagram&#10;&#10;Description automatically generated">
            <a:extLst>
              <a:ext uri="{FF2B5EF4-FFF2-40B4-BE49-F238E27FC236}">
                <a16:creationId xmlns:a16="http://schemas.microsoft.com/office/drawing/2014/main" id="{1D7CBB40-6D0D-4729-88C6-2ED085A672D0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96933" y="224885"/>
            <a:ext cx="5006401" cy="2815398"/>
          </a:xfrm>
          <a:prstGeom prst="rect">
            <a:avLst/>
          </a:prstGeom>
          <a:ln w="38100">
            <a:solidFill>
              <a:schemeClr val="bg2"/>
            </a:solidFill>
          </a:ln>
        </p:spPr>
      </p:pic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FF5DDBF-B8D0-41B5-98E0-B5C16C40C2B7}"/>
              </a:ext>
            </a:extLst>
          </p:cNvPr>
          <p:cNvPicPr>
            <a:picLocks noChangeAspect="1"/>
          </p:cNvPicPr>
          <p:nvPr/>
        </p:nvPicPr>
        <p:blipFill>
          <a:blip r:embed="rId43"/>
          <a:stretch>
            <a:fillRect/>
          </a:stretch>
        </p:blipFill>
        <p:spPr>
          <a:xfrm>
            <a:off x="570546" y="4487050"/>
            <a:ext cx="248635" cy="248635"/>
          </a:xfrm>
          <a:prstGeom prst="rect">
            <a:avLst/>
          </a:prstGeom>
        </p:spPr>
      </p:pic>
      <p:pic>
        <p:nvPicPr>
          <p:cNvPr id="10" name="Picture 9" descr="A screenshot of a game&#10;&#10;Description automatically generated with medium confidence">
            <a:extLst>
              <a:ext uri="{FF2B5EF4-FFF2-40B4-BE49-F238E27FC236}">
                <a16:creationId xmlns:a16="http://schemas.microsoft.com/office/drawing/2014/main" id="{FC1FB962-3A0C-4AC3-838C-D582B865A825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5719966" y="524615"/>
            <a:ext cx="2955774" cy="2184908"/>
          </a:xfrm>
          <a:prstGeom prst="rect">
            <a:avLst/>
          </a:prstGeom>
        </p:spPr>
      </p:pic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BB601F3A-E94A-49C2-A1D7-1E0967AB7113}"/>
              </a:ext>
            </a:extLst>
          </p:cNvPr>
          <p:cNvPicPr>
            <a:picLocks noChangeAspect="1"/>
          </p:cNvPicPr>
          <p:nvPr/>
        </p:nvPicPr>
        <p:blipFill>
          <a:blip r:embed="rId45"/>
          <a:stretch>
            <a:fillRect/>
          </a:stretch>
        </p:blipFill>
        <p:spPr>
          <a:xfrm>
            <a:off x="2601525" y="3457823"/>
            <a:ext cx="4208064" cy="1557658"/>
          </a:xfrm>
          <a:prstGeom prst="rect">
            <a:avLst/>
          </a:prstGeom>
        </p:spPr>
      </p:pic>
      <p:sp>
        <p:nvSpPr>
          <p:cNvPr id="55" name="Rectangle 54">
            <a:extLst>
              <a:ext uri="{FF2B5EF4-FFF2-40B4-BE49-F238E27FC236}">
                <a16:creationId xmlns:a16="http://schemas.microsoft.com/office/drawing/2014/main" id="{1BC6EE36-03B1-4AB0-855E-951E07B18088}"/>
              </a:ext>
            </a:extLst>
          </p:cNvPr>
          <p:cNvSpPr/>
          <p:nvPr/>
        </p:nvSpPr>
        <p:spPr>
          <a:xfrm>
            <a:off x="6888659" y="3288005"/>
            <a:ext cx="2185792" cy="178588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7" name="Graphic 56" descr="Handshake with solid fill">
            <a:extLst>
              <a:ext uri="{FF2B5EF4-FFF2-40B4-BE49-F238E27FC236}">
                <a16:creationId xmlns:a16="http://schemas.microsoft.com/office/drawing/2014/main" id="{3F59B197-078A-46A9-A871-0E1EAD48DB76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96DAC541-7B7A-43D3-8B79-37D633B846F1}">
                <asvg:svgBlip xmlns:asvg="http://schemas.microsoft.com/office/drawing/2016/SVG/main" r:embed="rId47"/>
              </a:ext>
            </a:extLst>
          </a:blip>
          <a:stretch>
            <a:fillRect/>
          </a:stretch>
        </p:blipFill>
        <p:spPr>
          <a:xfrm>
            <a:off x="6999368" y="3957989"/>
            <a:ext cx="647518" cy="712816"/>
          </a:xfrm>
          <a:prstGeom prst="rect">
            <a:avLst/>
          </a:prstGeom>
        </p:spPr>
      </p:pic>
      <p:sp>
        <p:nvSpPr>
          <p:cNvPr id="58" name="TextBox 57">
            <a:extLst>
              <a:ext uri="{FF2B5EF4-FFF2-40B4-BE49-F238E27FC236}">
                <a16:creationId xmlns:a16="http://schemas.microsoft.com/office/drawing/2014/main" id="{86B14051-C582-4A9A-BA6B-A9BF50C3D626}"/>
              </a:ext>
            </a:extLst>
          </p:cNvPr>
          <p:cNvSpPr txBox="1"/>
          <p:nvPr/>
        </p:nvSpPr>
        <p:spPr>
          <a:xfrm>
            <a:off x="7802821" y="3318281"/>
            <a:ext cx="138046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ham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rm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lya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isy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C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cKinse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9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…</a:t>
            </a:r>
            <a:endParaRPr kumimoji="0" lang="en-BE" sz="1600" b="1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9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4" name="Graphic 23" descr="Globe outline">
            <a:extLst>
              <a:ext uri="{FF2B5EF4-FFF2-40B4-BE49-F238E27FC236}">
                <a16:creationId xmlns:a16="http://schemas.microsoft.com/office/drawing/2014/main" id="{7A2BF20B-3589-4BB2-87B2-1369639E9E7D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96DAC541-7B7A-43D3-8B79-37D633B846F1}">
                <asvg:svgBlip xmlns:asvg="http://schemas.microsoft.com/office/drawing/2016/SVG/main" r:embed="rId49"/>
              </a:ext>
            </a:extLst>
          </a:blip>
          <a:stretch>
            <a:fillRect/>
          </a:stretch>
        </p:blipFill>
        <p:spPr>
          <a:xfrm>
            <a:off x="322199" y="5664413"/>
            <a:ext cx="594718" cy="594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7340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C33E5629-1C84-438D-8BC4-EC4B4125E04C}"/>
              </a:ext>
            </a:extLst>
          </p:cNvPr>
          <p:cNvSpPr/>
          <p:nvPr/>
        </p:nvSpPr>
        <p:spPr>
          <a:xfrm>
            <a:off x="-1" y="1596835"/>
            <a:ext cx="12192001" cy="355496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B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8AC24A24-4531-49C5-B7DA-EADB8BF1FC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nl-NL" dirty="0"/>
              <a:t>A </a:t>
            </a:r>
            <a:r>
              <a:rPr lang="nl-NL" dirty="0" err="1"/>
              <a:t>clear</a:t>
            </a:r>
            <a:r>
              <a:rPr lang="nl-NL" dirty="0"/>
              <a:t> mission</a:t>
            </a:r>
            <a:endParaRPr lang="nl-BE" dirty="0"/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6AD75F94-F76B-4F33-BADD-2A83CE546002}"/>
              </a:ext>
            </a:extLst>
          </p:cNvPr>
          <p:cNvSpPr txBox="1"/>
          <p:nvPr/>
        </p:nvSpPr>
        <p:spPr>
          <a:xfrm>
            <a:off x="321244" y="2674123"/>
            <a:ext cx="11733088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9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perate</a:t>
            </a:r>
            <a:r>
              <a:rPr kumimoji="0" lang="nl-NL" sz="9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as </a:t>
            </a:r>
            <a:r>
              <a:rPr kumimoji="0" lang="nl-NL" sz="96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ne</a:t>
            </a:r>
            <a:endParaRPr kumimoji="0" lang="nl-NL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Tekstvak 2">
            <a:extLst>
              <a:ext uri="{FF2B5EF4-FFF2-40B4-BE49-F238E27FC236}">
                <a16:creationId xmlns:a16="http://schemas.microsoft.com/office/drawing/2014/main" id="{0B19D704-FC69-4F97-B0BF-206CEEDA7662}"/>
              </a:ext>
            </a:extLst>
          </p:cNvPr>
          <p:cNvSpPr txBox="1"/>
          <p:nvPr/>
        </p:nvSpPr>
        <p:spPr>
          <a:xfrm>
            <a:off x="229455" y="2377335"/>
            <a:ext cx="117330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king </a:t>
            </a:r>
            <a:r>
              <a:rPr kumimoji="0" lang="nl-NL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e</a:t>
            </a:r>
            <a:r>
              <a:rPr kumimoji="0" lang="nl-NL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</a:t>
            </a:r>
            <a:r>
              <a:rPr kumimoji="0" lang="nl-NL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world</a:t>
            </a:r>
            <a:endParaRPr kumimoji="0" lang="nl-NL" sz="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330666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7B642B-EA63-4491-A945-3D97C3EE7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968" y="250118"/>
            <a:ext cx="11438750" cy="940213"/>
          </a:xfrm>
        </p:spPr>
        <p:txBody>
          <a:bodyPr/>
          <a:lstStyle/>
          <a:p>
            <a:pPr algn="l"/>
            <a:r>
              <a:rPr lang="nl-NL" dirty="0"/>
              <a:t>The Traditional Air Cargo </a:t>
            </a:r>
            <a:r>
              <a:rPr lang="nl-NL" dirty="0" err="1"/>
              <a:t>Industry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B3B10-5063-41E6-BF53-DAEAAF1CE3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0698" y="3870157"/>
            <a:ext cx="11438750" cy="2473490"/>
          </a:xfrm>
        </p:spPr>
        <p:txBody>
          <a:bodyPr>
            <a:normAutofit/>
          </a:bodyPr>
          <a:lstStyle/>
          <a:p>
            <a:pPr lvl="0">
              <a:spcAft>
                <a:spcPts val="1200"/>
              </a:spcAft>
            </a:pPr>
            <a:r>
              <a:rPr lang="en-US" dirty="0"/>
              <a:t>A </a:t>
            </a:r>
            <a:r>
              <a:rPr lang="en-US" b="1" dirty="0">
                <a:solidFill>
                  <a:srgbClr val="368EE0"/>
                </a:solidFill>
              </a:rPr>
              <a:t>fragmented</a:t>
            </a:r>
            <a:r>
              <a:rPr lang="en-US" dirty="0"/>
              <a:t> industry</a:t>
            </a:r>
            <a:endParaRPr lang="en-BE" dirty="0"/>
          </a:p>
          <a:p>
            <a:pPr lvl="0">
              <a:spcAft>
                <a:spcPts val="1200"/>
              </a:spcAft>
            </a:pPr>
            <a:r>
              <a:rPr lang="en-US" b="1" dirty="0">
                <a:solidFill>
                  <a:srgbClr val="368EE0"/>
                </a:solidFill>
              </a:rPr>
              <a:t>Inefficiencies</a:t>
            </a:r>
            <a:r>
              <a:rPr lang="en-US" dirty="0"/>
              <a:t> – low degree of digitization / highly manual process </a:t>
            </a:r>
            <a:endParaRPr lang="en-BE" dirty="0"/>
          </a:p>
          <a:p>
            <a:pPr lvl="0">
              <a:spcAft>
                <a:spcPts val="1200"/>
              </a:spcAft>
            </a:pPr>
            <a:r>
              <a:rPr lang="en-US" dirty="0"/>
              <a:t>Little innovation by the </a:t>
            </a:r>
            <a:r>
              <a:rPr lang="en-US" b="1" dirty="0">
                <a:solidFill>
                  <a:srgbClr val="368EE0"/>
                </a:solidFill>
              </a:rPr>
              <a:t>incumbent player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192CFD5-56E5-4AA4-B063-78140E3FAEEF}"/>
              </a:ext>
            </a:extLst>
          </p:cNvPr>
          <p:cNvGrpSpPr/>
          <p:nvPr/>
        </p:nvGrpSpPr>
        <p:grpSpPr>
          <a:xfrm>
            <a:off x="11096043" y="2165516"/>
            <a:ext cx="701675" cy="703263"/>
            <a:chOff x="10679113" y="4646613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5" name="Oval 20">
              <a:extLst>
                <a:ext uri="{FF2B5EF4-FFF2-40B4-BE49-F238E27FC236}">
                  <a16:creationId xmlns:a16="http://schemas.microsoft.com/office/drawing/2014/main" id="{52635B49-8641-4E7C-B6E3-DA8FF464A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9113" y="4646613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76">
              <a:extLst>
                <a:ext uri="{FF2B5EF4-FFF2-40B4-BE49-F238E27FC236}">
                  <a16:creationId xmlns:a16="http://schemas.microsoft.com/office/drawing/2014/main" id="{54B4BBDA-1CC0-43EB-94E1-88FB9019A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500" y="4824413"/>
              <a:ext cx="344488" cy="344488"/>
            </a:xfrm>
            <a:custGeom>
              <a:avLst/>
              <a:gdLst>
                <a:gd name="T0" fmla="*/ 209 w 216"/>
                <a:gd name="T1" fmla="*/ 184 h 216"/>
                <a:gd name="T2" fmla="*/ 144 w 216"/>
                <a:gd name="T3" fmla="*/ 162 h 216"/>
                <a:gd name="T4" fmla="*/ 145 w 216"/>
                <a:gd name="T5" fmla="*/ 131 h 216"/>
                <a:gd name="T6" fmla="*/ 159 w 216"/>
                <a:gd name="T7" fmla="*/ 100 h 216"/>
                <a:gd name="T8" fmla="*/ 165 w 216"/>
                <a:gd name="T9" fmla="*/ 68 h 216"/>
                <a:gd name="T10" fmla="*/ 157 w 216"/>
                <a:gd name="T11" fmla="*/ 57 h 216"/>
                <a:gd name="T12" fmla="*/ 151 w 216"/>
                <a:gd name="T13" fmla="*/ 22 h 216"/>
                <a:gd name="T14" fmla="*/ 116 w 216"/>
                <a:gd name="T15" fmla="*/ 0 h 216"/>
                <a:gd name="T16" fmla="*/ 96 w 216"/>
                <a:gd name="T17" fmla="*/ 6 h 216"/>
                <a:gd name="T18" fmla="*/ 59 w 216"/>
                <a:gd name="T19" fmla="*/ 57 h 216"/>
                <a:gd name="T20" fmla="*/ 51 w 216"/>
                <a:gd name="T21" fmla="*/ 68 h 216"/>
                <a:gd name="T22" fmla="*/ 57 w 216"/>
                <a:gd name="T23" fmla="*/ 100 h 216"/>
                <a:gd name="T24" fmla="*/ 71 w 216"/>
                <a:gd name="T25" fmla="*/ 131 h 216"/>
                <a:gd name="T26" fmla="*/ 72 w 216"/>
                <a:gd name="T27" fmla="*/ 162 h 216"/>
                <a:gd name="T28" fmla="*/ 7 w 216"/>
                <a:gd name="T29" fmla="*/ 184 h 216"/>
                <a:gd name="T30" fmla="*/ 0 w 216"/>
                <a:gd name="T31" fmla="*/ 216 h 216"/>
                <a:gd name="T32" fmla="*/ 108 w 216"/>
                <a:gd name="T33" fmla="*/ 216 h 216"/>
                <a:gd name="T34" fmla="*/ 216 w 216"/>
                <a:gd name="T35" fmla="*/ 216 h 216"/>
                <a:gd name="T36" fmla="*/ 209 w 216"/>
                <a:gd name="T37" fmla="*/ 18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6" h="216">
                  <a:moveTo>
                    <a:pt x="209" y="184"/>
                  </a:moveTo>
                  <a:cubicBezTo>
                    <a:pt x="199" y="172"/>
                    <a:pt x="151" y="177"/>
                    <a:pt x="144" y="162"/>
                  </a:cubicBezTo>
                  <a:cubicBezTo>
                    <a:pt x="129" y="133"/>
                    <a:pt x="135" y="138"/>
                    <a:pt x="145" y="131"/>
                  </a:cubicBezTo>
                  <a:cubicBezTo>
                    <a:pt x="154" y="124"/>
                    <a:pt x="153" y="106"/>
                    <a:pt x="159" y="100"/>
                  </a:cubicBezTo>
                  <a:cubicBezTo>
                    <a:pt x="164" y="93"/>
                    <a:pt x="167" y="75"/>
                    <a:pt x="165" y="68"/>
                  </a:cubicBezTo>
                  <a:cubicBezTo>
                    <a:pt x="162" y="59"/>
                    <a:pt x="158" y="64"/>
                    <a:pt x="157" y="57"/>
                  </a:cubicBezTo>
                  <a:cubicBezTo>
                    <a:pt x="156" y="42"/>
                    <a:pt x="159" y="29"/>
                    <a:pt x="151" y="22"/>
                  </a:cubicBezTo>
                  <a:cubicBezTo>
                    <a:pt x="143" y="15"/>
                    <a:pt x="132" y="0"/>
                    <a:pt x="116" y="0"/>
                  </a:cubicBezTo>
                  <a:cubicBezTo>
                    <a:pt x="110" y="0"/>
                    <a:pt x="103" y="2"/>
                    <a:pt x="96" y="6"/>
                  </a:cubicBezTo>
                  <a:cubicBezTo>
                    <a:pt x="60" y="2"/>
                    <a:pt x="60" y="42"/>
                    <a:pt x="59" y="57"/>
                  </a:cubicBezTo>
                  <a:cubicBezTo>
                    <a:pt x="58" y="64"/>
                    <a:pt x="54" y="59"/>
                    <a:pt x="51" y="68"/>
                  </a:cubicBezTo>
                  <a:cubicBezTo>
                    <a:pt x="49" y="75"/>
                    <a:pt x="52" y="93"/>
                    <a:pt x="57" y="100"/>
                  </a:cubicBezTo>
                  <a:cubicBezTo>
                    <a:pt x="62" y="106"/>
                    <a:pt x="62" y="124"/>
                    <a:pt x="71" y="131"/>
                  </a:cubicBezTo>
                  <a:cubicBezTo>
                    <a:pt x="80" y="138"/>
                    <a:pt x="86" y="133"/>
                    <a:pt x="72" y="162"/>
                  </a:cubicBezTo>
                  <a:cubicBezTo>
                    <a:pt x="64" y="177"/>
                    <a:pt x="17" y="172"/>
                    <a:pt x="7" y="184"/>
                  </a:cubicBezTo>
                  <a:cubicBezTo>
                    <a:pt x="0" y="194"/>
                    <a:pt x="0" y="216"/>
                    <a:pt x="0" y="216"/>
                  </a:cubicBezTo>
                  <a:cubicBezTo>
                    <a:pt x="108" y="216"/>
                    <a:pt x="108" y="216"/>
                    <a:pt x="108" y="216"/>
                  </a:cubicBezTo>
                  <a:cubicBezTo>
                    <a:pt x="216" y="216"/>
                    <a:pt x="216" y="216"/>
                    <a:pt x="216" y="216"/>
                  </a:cubicBezTo>
                  <a:cubicBezTo>
                    <a:pt x="216" y="216"/>
                    <a:pt x="216" y="194"/>
                    <a:pt x="209" y="184"/>
                  </a:cubicBezTo>
                  <a:close/>
                </a:path>
              </a:pathLst>
            </a:custGeom>
            <a:grp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3F01A45-7A06-4811-BDA8-1A7E3FA2056F}"/>
              </a:ext>
            </a:extLst>
          </p:cNvPr>
          <p:cNvGrpSpPr/>
          <p:nvPr/>
        </p:nvGrpSpPr>
        <p:grpSpPr>
          <a:xfrm>
            <a:off x="1344213" y="2165516"/>
            <a:ext cx="703263" cy="703263"/>
            <a:chOff x="5316538" y="151447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8" name="Oval 12">
              <a:extLst>
                <a:ext uri="{FF2B5EF4-FFF2-40B4-BE49-F238E27FC236}">
                  <a16:creationId xmlns:a16="http://schemas.microsoft.com/office/drawing/2014/main" id="{C74BCBD6-09C1-49C4-9846-F7E252A75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6538" y="151447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Line 82">
              <a:extLst>
                <a:ext uri="{FF2B5EF4-FFF2-40B4-BE49-F238E27FC236}">
                  <a16:creationId xmlns:a16="http://schemas.microsoft.com/office/drawing/2014/main" id="{49DA9865-8A0C-4141-9F0C-77F51BBCC4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99088" y="1841501"/>
              <a:ext cx="63500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Line 83">
              <a:extLst>
                <a:ext uri="{FF2B5EF4-FFF2-40B4-BE49-F238E27FC236}">
                  <a16:creationId xmlns:a16="http://schemas.microsoft.com/office/drawing/2014/main" id="{B4131C2B-DC2F-4907-8B17-29E508C6A9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75275" y="1816101"/>
              <a:ext cx="87313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Oval 84">
              <a:extLst>
                <a:ext uri="{FF2B5EF4-FFF2-40B4-BE49-F238E27FC236}">
                  <a16:creationId xmlns:a16="http://schemas.microsoft.com/office/drawing/2014/main" id="{39C32900-64DF-45E0-A789-532932E85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8463" y="1924051"/>
              <a:ext cx="49213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Oval 85">
              <a:extLst>
                <a:ext uri="{FF2B5EF4-FFF2-40B4-BE49-F238E27FC236}">
                  <a16:creationId xmlns:a16="http://schemas.microsoft.com/office/drawing/2014/main" id="{041913B1-4B5D-41A1-9C4C-58861D6CB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6725" y="1924051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Oval 86">
              <a:extLst>
                <a:ext uri="{FF2B5EF4-FFF2-40B4-BE49-F238E27FC236}">
                  <a16:creationId xmlns:a16="http://schemas.microsoft.com/office/drawing/2014/main" id="{62FB1CE1-FC71-42A0-965C-42630ACF89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4988" y="1924051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Freeform 87">
              <a:extLst>
                <a:ext uri="{FF2B5EF4-FFF2-40B4-BE49-F238E27FC236}">
                  <a16:creationId xmlns:a16="http://schemas.microsoft.com/office/drawing/2014/main" id="{25B43FD5-A3C0-45F9-A74F-6E6689AAE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063" y="1778001"/>
              <a:ext cx="38100" cy="23813"/>
            </a:xfrm>
            <a:custGeom>
              <a:avLst/>
              <a:gdLst>
                <a:gd name="T0" fmla="*/ 0 w 24"/>
                <a:gd name="T1" fmla="*/ 15 h 15"/>
                <a:gd name="T2" fmla="*/ 0 w 24"/>
                <a:gd name="T3" fmla="*/ 0 h 15"/>
                <a:gd name="T4" fmla="*/ 24 w 24"/>
                <a:gd name="T5" fmla="*/ 15 h 15"/>
                <a:gd name="T6" fmla="*/ 0 w 24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5">
                  <a:moveTo>
                    <a:pt x="0" y="1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7"/>
                    <a:pt x="24" y="15"/>
                    <a:pt x="24" y="15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88">
              <a:extLst>
                <a:ext uri="{FF2B5EF4-FFF2-40B4-BE49-F238E27FC236}">
                  <a16:creationId xmlns:a16="http://schemas.microsoft.com/office/drawing/2014/main" id="{20192A6D-9224-470C-8AA5-46531EFCF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50" y="1778001"/>
              <a:ext cx="388938" cy="158750"/>
            </a:xfrm>
            <a:custGeom>
              <a:avLst/>
              <a:gdLst>
                <a:gd name="T0" fmla="*/ 148 w 245"/>
                <a:gd name="T1" fmla="*/ 100 h 100"/>
                <a:gd name="T2" fmla="*/ 245 w 245"/>
                <a:gd name="T3" fmla="*/ 100 h 100"/>
                <a:gd name="T4" fmla="*/ 245 w 245"/>
                <a:gd name="T5" fmla="*/ 0 h 100"/>
                <a:gd name="T6" fmla="*/ 0 w 245"/>
                <a:gd name="T7" fmla="*/ 0 h 100"/>
                <a:gd name="T8" fmla="*/ 0 w 245"/>
                <a:gd name="T9" fmla="*/ 100 h 100"/>
                <a:gd name="T10" fmla="*/ 32 w 245"/>
                <a:gd name="T1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100">
                  <a:moveTo>
                    <a:pt x="148" y="100"/>
                  </a:moveTo>
                  <a:lnTo>
                    <a:pt x="245" y="100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32" y="100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Line 89">
              <a:extLst>
                <a:ext uri="{FF2B5EF4-FFF2-40B4-BE49-F238E27FC236}">
                  <a16:creationId xmlns:a16="http://schemas.microsoft.com/office/drawing/2014/main" id="{D9EACA72-E10D-4286-A61D-B605668A15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4350" y="1936751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Line 90">
              <a:extLst>
                <a:ext uri="{FF2B5EF4-FFF2-40B4-BE49-F238E27FC236}">
                  <a16:creationId xmlns:a16="http://schemas.microsoft.com/office/drawing/2014/main" id="{24C63F4C-0E90-4D6F-9C99-9DD0960364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26088" y="1936751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Freeform 91">
              <a:extLst>
                <a:ext uri="{FF2B5EF4-FFF2-40B4-BE49-F238E27FC236}">
                  <a16:creationId xmlns:a16="http://schemas.microsoft.com/office/drawing/2014/main" id="{DA72CCD2-040E-4789-8ED4-9C9CE18F9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238" y="1816101"/>
              <a:ext cx="104775" cy="112713"/>
            </a:xfrm>
            <a:custGeom>
              <a:avLst/>
              <a:gdLst>
                <a:gd name="T0" fmla="*/ 47 w 66"/>
                <a:gd name="T1" fmla="*/ 71 h 71"/>
                <a:gd name="T2" fmla="*/ 66 w 66"/>
                <a:gd name="T3" fmla="*/ 71 h 71"/>
                <a:gd name="T4" fmla="*/ 66 w 66"/>
                <a:gd name="T5" fmla="*/ 41 h 71"/>
                <a:gd name="T6" fmla="*/ 66 w 66"/>
                <a:gd name="T7" fmla="*/ 33 h 71"/>
                <a:gd name="T8" fmla="*/ 51 w 66"/>
                <a:gd name="T9" fmla="*/ 0 h 71"/>
                <a:gd name="T10" fmla="*/ 0 w 66"/>
                <a:gd name="T11" fmla="*/ 0 h 71"/>
                <a:gd name="T12" fmla="*/ 0 w 66"/>
                <a:gd name="T13" fmla="*/ 71 h 71"/>
                <a:gd name="T14" fmla="*/ 18 w 66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71">
                  <a:moveTo>
                    <a:pt x="47" y="71"/>
                  </a:moveTo>
                  <a:lnTo>
                    <a:pt x="66" y="71"/>
                  </a:lnTo>
                  <a:lnTo>
                    <a:pt x="66" y="41"/>
                  </a:lnTo>
                  <a:lnTo>
                    <a:pt x="66" y="33"/>
                  </a:lnTo>
                  <a:lnTo>
                    <a:pt x="51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Oval 92">
              <a:extLst>
                <a:ext uri="{FF2B5EF4-FFF2-40B4-BE49-F238E27FC236}">
                  <a16:creationId xmlns:a16="http://schemas.microsoft.com/office/drawing/2014/main" id="{A6D497DE-A891-487E-A33F-F4250E331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1050" y="1916113"/>
              <a:ext cx="53975" cy="53975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FBD02E07-8597-46F5-8474-3E73353878CA}"/>
              </a:ext>
            </a:extLst>
          </p:cNvPr>
          <p:cNvSpPr txBox="1"/>
          <p:nvPr/>
        </p:nvSpPr>
        <p:spPr>
          <a:xfrm>
            <a:off x="243198" y="297758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anufactur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6908B1-2D1B-4E63-BAA3-1A6C9243C09F}"/>
              </a:ext>
            </a:extLst>
          </p:cNvPr>
          <p:cNvSpPr txBox="1"/>
          <p:nvPr/>
        </p:nvSpPr>
        <p:spPr>
          <a:xfrm>
            <a:off x="1217476" y="297758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2304865-7642-4AC9-8908-0C0EBBDEBD48}"/>
              </a:ext>
            </a:extLst>
          </p:cNvPr>
          <p:cNvSpPr txBox="1"/>
          <p:nvPr/>
        </p:nvSpPr>
        <p:spPr>
          <a:xfrm>
            <a:off x="10971122" y="2959617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consigne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C6ADE58-83C0-4B3E-A5C6-68855269A2AD}"/>
              </a:ext>
            </a:extLst>
          </p:cNvPr>
          <p:cNvGrpSpPr/>
          <p:nvPr/>
        </p:nvGrpSpPr>
        <p:grpSpPr>
          <a:xfrm>
            <a:off x="359962" y="2165516"/>
            <a:ext cx="703263" cy="703263"/>
            <a:chOff x="431070" y="1342382"/>
            <a:chExt cx="703263" cy="703263"/>
          </a:xfrm>
        </p:grpSpPr>
        <p:sp>
          <p:nvSpPr>
            <p:cNvPr id="24" name="Oval 12">
              <a:extLst>
                <a:ext uri="{FF2B5EF4-FFF2-40B4-BE49-F238E27FC236}">
                  <a16:creationId xmlns:a16="http://schemas.microsoft.com/office/drawing/2014/main" id="{15E73F95-BDC0-4990-9AC7-3164308F8B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70" y="1342382"/>
              <a:ext cx="703263" cy="7032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F1A90E2-F0A3-4051-9EBB-582F9021DD76}"/>
                </a:ext>
              </a:extLst>
            </p:cNvPr>
            <p:cNvGrpSpPr/>
            <p:nvPr/>
          </p:nvGrpSpPr>
          <p:grpSpPr>
            <a:xfrm>
              <a:off x="625142" y="1423630"/>
              <a:ext cx="307975" cy="454025"/>
              <a:chOff x="3732213" y="1597026"/>
              <a:chExt cx="307975" cy="454025"/>
            </a:xfrm>
          </p:grpSpPr>
          <p:sp>
            <p:nvSpPr>
              <p:cNvPr id="26" name="Freeform 45">
                <a:extLst>
                  <a:ext uri="{FF2B5EF4-FFF2-40B4-BE49-F238E27FC236}">
                    <a16:creationId xmlns:a16="http://schemas.microsoft.com/office/drawing/2014/main" id="{18F34AE7-5FB0-4393-A4B5-C0EDAC7D6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2213" y="1663701"/>
                <a:ext cx="307975" cy="387350"/>
              </a:xfrm>
              <a:custGeom>
                <a:avLst/>
                <a:gdLst>
                  <a:gd name="T0" fmla="*/ 168 w 194"/>
                  <a:gd name="T1" fmla="*/ 116 h 244"/>
                  <a:gd name="T2" fmla="*/ 159 w 194"/>
                  <a:gd name="T3" fmla="*/ 0 h 244"/>
                  <a:gd name="T4" fmla="*/ 138 w 194"/>
                  <a:gd name="T5" fmla="*/ 0 h 244"/>
                  <a:gd name="T6" fmla="*/ 128 w 194"/>
                  <a:gd name="T7" fmla="*/ 116 h 244"/>
                  <a:gd name="T8" fmla="*/ 0 w 194"/>
                  <a:gd name="T9" fmla="*/ 116 h 244"/>
                  <a:gd name="T10" fmla="*/ 0 w 194"/>
                  <a:gd name="T11" fmla="*/ 244 h 244"/>
                  <a:gd name="T12" fmla="*/ 194 w 194"/>
                  <a:gd name="T13" fmla="*/ 244 h 244"/>
                  <a:gd name="T14" fmla="*/ 194 w 194"/>
                  <a:gd name="T15" fmla="*/ 116 h 244"/>
                  <a:gd name="T16" fmla="*/ 168 w 194"/>
                  <a:gd name="T17" fmla="*/ 116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244">
                    <a:moveTo>
                      <a:pt x="168" y="116"/>
                    </a:moveTo>
                    <a:lnTo>
                      <a:pt x="159" y="0"/>
                    </a:lnTo>
                    <a:lnTo>
                      <a:pt x="138" y="0"/>
                    </a:lnTo>
                    <a:lnTo>
                      <a:pt x="128" y="116"/>
                    </a:lnTo>
                    <a:lnTo>
                      <a:pt x="0" y="116"/>
                    </a:lnTo>
                    <a:lnTo>
                      <a:pt x="0" y="244"/>
                    </a:lnTo>
                    <a:lnTo>
                      <a:pt x="194" y="244"/>
                    </a:lnTo>
                    <a:lnTo>
                      <a:pt x="194" y="116"/>
                    </a:lnTo>
                    <a:lnTo>
                      <a:pt x="168" y="116"/>
                    </a:ln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 46">
                <a:extLst>
                  <a:ext uri="{FF2B5EF4-FFF2-40B4-BE49-F238E27FC236}">
                    <a16:creationId xmlns:a16="http://schemas.microsoft.com/office/drawing/2014/main" id="{BE4EB9B6-E1C3-4117-B243-90F76EE7E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400" y="1612901"/>
                <a:ext cx="130175" cy="46038"/>
              </a:xfrm>
              <a:custGeom>
                <a:avLst/>
                <a:gdLst>
                  <a:gd name="T0" fmla="*/ 20 w 82"/>
                  <a:gd name="T1" fmla="*/ 20 h 28"/>
                  <a:gd name="T2" fmla="*/ 13 w 82"/>
                  <a:gd name="T3" fmla="*/ 19 h 28"/>
                  <a:gd name="T4" fmla="*/ 0 w 82"/>
                  <a:gd name="T5" fmla="*/ 14 h 28"/>
                  <a:gd name="T6" fmla="*/ 3 w 82"/>
                  <a:gd name="T7" fmla="*/ 17 h 28"/>
                  <a:gd name="T8" fmla="*/ 11 w 82"/>
                  <a:gd name="T9" fmla="*/ 24 h 28"/>
                  <a:gd name="T10" fmla="*/ 19 w 82"/>
                  <a:gd name="T11" fmla="*/ 27 h 28"/>
                  <a:gd name="T12" fmla="*/ 28 w 82"/>
                  <a:gd name="T13" fmla="*/ 27 h 28"/>
                  <a:gd name="T14" fmla="*/ 45 w 82"/>
                  <a:gd name="T15" fmla="*/ 18 h 28"/>
                  <a:gd name="T16" fmla="*/ 51 w 82"/>
                  <a:gd name="T17" fmla="*/ 12 h 28"/>
                  <a:gd name="T18" fmla="*/ 57 w 82"/>
                  <a:gd name="T19" fmla="*/ 9 h 28"/>
                  <a:gd name="T20" fmla="*/ 69 w 82"/>
                  <a:gd name="T21" fmla="*/ 8 h 28"/>
                  <a:gd name="T22" fmla="*/ 78 w 82"/>
                  <a:gd name="T23" fmla="*/ 12 h 28"/>
                  <a:gd name="T24" fmla="*/ 82 w 82"/>
                  <a:gd name="T25" fmla="*/ 14 h 28"/>
                  <a:gd name="T26" fmla="*/ 80 w 82"/>
                  <a:gd name="T27" fmla="*/ 11 h 28"/>
                  <a:gd name="T28" fmla="*/ 71 w 82"/>
                  <a:gd name="T29" fmla="*/ 3 h 28"/>
                  <a:gd name="T30" fmla="*/ 63 w 82"/>
                  <a:gd name="T31" fmla="*/ 1 h 28"/>
                  <a:gd name="T32" fmla="*/ 54 w 82"/>
                  <a:gd name="T33" fmla="*/ 1 h 28"/>
                  <a:gd name="T34" fmla="*/ 49 w 82"/>
                  <a:gd name="T35" fmla="*/ 3 h 28"/>
                  <a:gd name="T36" fmla="*/ 45 w 82"/>
                  <a:gd name="T37" fmla="*/ 6 h 28"/>
                  <a:gd name="T38" fmla="*/ 38 w 82"/>
                  <a:gd name="T39" fmla="*/ 12 h 28"/>
                  <a:gd name="T40" fmla="*/ 26 w 82"/>
                  <a:gd name="T41" fmla="*/ 19 h 28"/>
                  <a:gd name="T42" fmla="*/ 20 w 82"/>
                  <a:gd name="T43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2" h="28">
                    <a:moveTo>
                      <a:pt x="20" y="20"/>
                    </a:moveTo>
                    <a:cubicBezTo>
                      <a:pt x="18" y="20"/>
                      <a:pt x="15" y="19"/>
                      <a:pt x="13" y="19"/>
                    </a:cubicBezTo>
                    <a:cubicBezTo>
                      <a:pt x="5" y="17"/>
                      <a:pt x="0" y="14"/>
                      <a:pt x="0" y="14"/>
                    </a:cubicBezTo>
                    <a:cubicBezTo>
                      <a:pt x="0" y="14"/>
                      <a:pt x="1" y="15"/>
                      <a:pt x="3" y="17"/>
                    </a:cubicBezTo>
                    <a:cubicBezTo>
                      <a:pt x="4" y="19"/>
                      <a:pt x="7" y="22"/>
                      <a:pt x="11" y="24"/>
                    </a:cubicBezTo>
                    <a:cubicBezTo>
                      <a:pt x="13" y="25"/>
                      <a:pt x="16" y="26"/>
                      <a:pt x="19" y="27"/>
                    </a:cubicBezTo>
                    <a:cubicBezTo>
                      <a:pt x="21" y="27"/>
                      <a:pt x="24" y="28"/>
                      <a:pt x="28" y="27"/>
                    </a:cubicBezTo>
                    <a:cubicBezTo>
                      <a:pt x="34" y="27"/>
                      <a:pt x="41" y="23"/>
                      <a:pt x="45" y="18"/>
                    </a:cubicBezTo>
                    <a:cubicBezTo>
                      <a:pt x="47" y="17"/>
                      <a:pt x="49" y="14"/>
                      <a:pt x="51" y="12"/>
                    </a:cubicBezTo>
                    <a:cubicBezTo>
                      <a:pt x="52" y="11"/>
                      <a:pt x="54" y="10"/>
                      <a:pt x="57" y="9"/>
                    </a:cubicBezTo>
                    <a:cubicBezTo>
                      <a:pt x="61" y="7"/>
                      <a:pt x="65" y="7"/>
                      <a:pt x="69" y="8"/>
                    </a:cubicBezTo>
                    <a:cubicBezTo>
                      <a:pt x="73" y="9"/>
                      <a:pt x="76" y="11"/>
                      <a:pt x="78" y="12"/>
                    </a:cubicBezTo>
                    <a:cubicBezTo>
                      <a:pt x="81" y="13"/>
                      <a:pt x="82" y="14"/>
                      <a:pt x="82" y="14"/>
                    </a:cubicBezTo>
                    <a:cubicBezTo>
                      <a:pt x="82" y="14"/>
                      <a:pt x="81" y="13"/>
                      <a:pt x="80" y="11"/>
                    </a:cubicBezTo>
                    <a:cubicBezTo>
                      <a:pt x="78" y="9"/>
                      <a:pt x="75" y="6"/>
                      <a:pt x="71" y="3"/>
                    </a:cubicBezTo>
                    <a:cubicBezTo>
                      <a:pt x="69" y="2"/>
                      <a:pt x="66" y="1"/>
                      <a:pt x="63" y="1"/>
                    </a:cubicBezTo>
                    <a:cubicBezTo>
                      <a:pt x="61" y="0"/>
                      <a:pt x="57" y="0"/>
                      <a:pt x="54" y="1"/>
                    </a:cubicBezTo>
                    <a:cubicBezTo>
                      <a:pt x="52" y="2"/>
                      <a:pt x="51" y="2"/>
                      <a:pt x="49" y="3"/>
                    </a:cubicBezTo>
                    <a:cubicBezTo>
                      <a:pt x="48" y="4"/>
                      <a:pt x="46" y="5"/>
                      <a:pt x="45" y="6"/>
                    </a:cubicBezTo>
                    <a:cubicBezTo>
                      <a:pt x="42" y="8"/>
                      <a:pt x="41" y="10"/>
                      <a:pt x="38" y="12"/>
                    </a:cubicBezTo>
                    <a:cubicBezTo>
                      <a:pt x="35" y="16"/>
                      <a:pt x="31" y="18"/>
                      <a:pt x="26" y="19"/>
                    </a:cubicBezTo>
                    <a:cubicBezTo>
                      <a:pt x="24" y="20"/>
                      <a:pt x="22" y="20"/>
                      <a:pt x="20" y="20"/>
                    </a:cubicBez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 47">
                <a:extLst>
                  <a:ext uri="{FF2B5EF4-FFF2-40B4-BE49-F238E27FC236}">
                    <a16:creationId xmlns:a16="http://schemas.microsoft.com/office/drawing/2014/main" id="{613A2AB0-D626-470B-8248-9F0F3FCEE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1597026"/>
                <a:ext cx="131763" cy="46038"/>
              </a:xfrm>
              <a:custGeom>
                <a:avLst/>
                <a:gdLst>
                  <a:gd name="T0" fmla="*/ 12 w 83"/>
                  <a:gd name="T1" fmla="*/ 24 h 28"/>
                  <a:gd name="T2" fmla="*/ 19 w 83"/>
                  <a:gd name="T3" fmla="*/ 27 h 28"/>
                  <a:gd name="T4" fmla="*/ 28 w 83"/>
                  <a:gd name="T5" fmla="*/ 28 h 28"/>
                  <a:gd name="T6" fmla="*/ 46 w 83"/>
                  <a:gd name="T7" fmla="*/ 18 h 28"/>
                  <a:gd name="T8" fmla="*/ 51 w 83"/>
                  <a:gd name="T9" fmla="*/ 13 h 28"/>
                  <a:gd name="T10" fmla="*/ 57 w 83"/>
                  <a:gd name="T11" fmla="*/ 9 h 28"/>
                  <a:gd name="T12" fmla="*/ 70 w 83"/>
                  <a:gd name="T13" fmla="*/ 9 h 28"/>
                  <a:gd name="T14" fmla="*/ 79 w 83"/>
                  <a:gd name="T15" fmla="*/ 12 h 28"/>
                  <a:gd name="T16" fmla="*/ 83 w 83"/>
                  <a:gd name="T17" fmla="*/ 14 h 28"/>
                  <a:gd name="T18" fmla="*/ 80 w 83"/>
                  <a:gd name="T19" fmla="*/ 11 h 28"/>
                  <a:gd name="T20" fmla="*/ 71 w 83"/>
                  <a:gd name="T21" fmla="*/ 4 h 28"/>
                  <a:gd name="T22" fmla="*/ 64 w 83"/>
                  <a:gd name="T23" fmla="*/ 1 h 28"/>
                  <a:gd name="T24" fmla="*/ 55 w 83"/>
                  <a:gd name="T25" fmla="*/ 1 h 28"/>
                  <a:gd name="T26" fmla="*/ 50 w 83"/>
                  <a:gd name="T27" fmla="*/ 3 h 28"/>
                  <a:gd name="T28" fmla="*/ 46 w 83"/>
                  <a:gd name="T29" fmla="*/ 6 h 28"/>
                  <a:gd name="T30" fmla="*/ 39 w 83"/>
                  <a:gd name="T31" fmla="*/ 12 h 28"/>
                  <a:gd name="T32" fmla="*/ 27 w 83"/>
                  <a:gd name="T33" fmla="*/ 20 h 28"/>
                  <a:gd name="T34" fmla="*/ 20 w 83"/>
                  <a:gd name="T35" fmla="*/ 20 h 28"/>
                  <a:gd name="T36" fmla="*/ 14 w 83"/>
                  <a:gd name="T37" fmla="*/ 19 h 28"/>
                  <a:gd name="T38" fmla="*/ 0 w 83"/>
                  <a:gd name="T39" fmla="*/ 14 h 28"/>
                  <a:gd name="T40" fmla="*/ 3 w 83"/>
                  <a:gd name="T41" fmla="*/ 17 h 28"/>
                  <a:gd name="T42" fmla="*/ 12 w 83"/>
                  <a:gd name="T43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3" h="28">
                    <a:moveTo>
                      <a:pt x="12" y="24"/>
                    </a:moveTo>
                    <a:cubicBezTo>
                      <a:pt x="14" y="25"/>
                      <a:pt x="16" y="26"/>
                      <a:pt x="19" y="27"/>
                    </a:cubicBezTo>
                    <a:cubicBezTo>
                      <a:pt x="22" y="28"/>
                      <a:pt x="25" y="28"/>
                      <a:pt x="28" y="28"/>
                    </a:cubicBezTo>
                    <a:cubicBezTo>
                      <a:pt x="35" y="27"/>
                      <a:pt x="41" y="23"/>
                      <a:pt x="46" y="18"/>
                    </a:cubicBezTo>
                    <a:cubicBezTo>
                      <a:pt x="47" y="17"/>
                      <a:pt x="50" y="14"/>
                      <a:pt x="51" y="13"/>
                    </a:cubicBezTo>
                    <a:cubicBezTo>
                      <a:pt x="53" y="11"/>
                      <a:pt x="55" y="10"/>
                      <a:pt x="57" y="9"/>
                    </a:cubicBezTo>
                    <a:cubicBezTo>
                      <a:pt x="61" y="7"/>
                      <a:pt x="66" y="8"/>
                      <a:pt x="70" y="9"/>
                    </a:cubicBezTo>
                    <a:cubicBezTo>
                      <a:pt x="73" y="10"/>
                      <a:pt x="77" y="11"/>
                      <a:pt x="79" y="12"/>
                    </a:cubicBezTo>
                    <a:cubicBezTo>
                      <a:pt x="81" y="13"/>
                      <a:pt x="83" y="14"/>
                      <a:pt x="83" y="14"/>
                    </a:cubicBezTo>
                    <a:cubicBezTo>
                      <a:pt x="83" y="14"/>
                      <a:pt x="82" y="13"/>
                      <a:pt x="80" y="11"/>
                    </a:cubicBezTo>
                    <a:cubicBezTo>
                      <a:pt x="78" y="9"/>
                      <a:pt x="76" y="6"/>
                      <a:pt x="71" y="4"/>
                    </a:cubicBezTo>
                    <a:cubicBezTo>
                      <a:pt x="69" y="2"/>
                      <a:pt x="67" y="1"/>
                      <a:pt x="64" y="1"/>
                    </a:cubicBezTo>
                    <a:cubicBezTo>
                      <a:pt x="61" y="1"/>
                      <a:pt x="58" y="0"/>
                      <a:pt x="55" y="1"/>
                    </a:cubicBezTo>
                    <a:cubicBezTo>
                      <a:pt x="53" y="2"/>
                      <a:pt x="51" y="2"/>
                      <a:pt x="50" y="3"/>
                    </a:cubicBezTo>
                    <a:cubicBezTo>
                      <a:pt x="48" y="4"/>
                      <a:pt x="47" y="5"/>
                      <a:pt x="46" y="6"/>
                    </a:cubicBezTo>
                    <a:cubicBezTo>
                      <a:pt x="42" y="8"/>
                      <a:pt x="41" y="10"/>
                      <a:pt x="39" y="12"/>
                    </a:cubicBezTo>
                    <a:cubicBezTo>
                      <a:pt x="36" y="16"/>
                      <a:pt x="31" y="19"/>
                      <a:pt x="27" y="20"/>
                    </a:cubicBezTo>
                    <a:cubicBezTo>
                      <a:pt x="25" y="20"/>
                      <a:pt x="23" y="20"/>
                      <a:pt x="20" y="20"/>
                    </a:cubicBezTo>
                    <a:cubicBezTo>
                      <a:pt x="18" y="20"/>
                      <a:pt x="16" y="20"/>
                      <a:pt x="14" y="19"/>
                    </a:cubicBezTo>
                    <a:cubicBezTo>
                      <a:pt x="6" y="17"/>
                      <a:pt x="0" y="14"/>
                      <a:pt x="0" y="14"/>
                    </a:cubicBezTo>
                    <a:cubicBezTo>
                      <a:pt x="0" y="14"/>
                      <a:pt x="1" y="15"/>
                      <a:pt x="3" y="17"/>
                    </a:cubicBezTo>
                    <a:cubicBezTo>
                      <a:pt x="5" y="19"/>
                      <a:pt x="8" y="22"/>
                      <a:pt x="12" y="24"/>
                    </a:cubicBez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Rectangle 48">
                <a:extLst>
                  <a:ext uri="{FF2B5EF4-FFF2-40B4-BE49-F238E27FC236}">
                    <a16:creationId xmlns:a16="http://schemas.microsoft.com/office/drawing/2014/main" id="{27D72C9B-DFC4-4469-9D31-25F8781C23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7138" y="1892301"/>
                <a:ext cx="57150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Rectangle 49">
                <a:extLst>
                  <a:ext uri="{FF2B5EF4-FFF2-40B4-BE49-F238E27FC236}">
                    <a16:creationId xmlns:a16="http://schemas.microsoft.com/office/drawing/2014/main" id="{89A4F7A7-9F55-44B7-90CB-8D1DAA1188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6038" y="1892301"/>
                <a:ext cx="55563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Rectangle 50">
                <a:extLst>
                  <a:ext uri="{FF2B5EF4-FFF2-40B4-BE49-F238E27FC236}">
                    <a16:creationId xmlns:a16="http://schemas.microsoft.com/office/drawing/2014/main" id="{4F7F8A9D-1A7B-4C05-93AF-3CF02A6965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938" y="1892301"/>
                <a:ext cx="57150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F0A94B5-683C-47BC-877B-C807E79A504E}"/>
              </a:ext>
            </a:extLst>
          </p:cNvPr>
          <p:cNvGrpSpPr/>
          <p:nvPr/>
        </p:nvGrpSpPr>
        <p:grpSpPr>
          <a:xfrm>
            <a:off x="3396620" y="2165516"/>
            <a:ext cx="703263" cy="703263"/>
            <a:chOff x="8885238" y="15208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33" name="Oval 14">
              <a:extLst>
                <a:ext uri="{FF2B5EF4-FFF2-40B4-BE49-F238E27FC236}">
                  <a16:creationId xmlns:a16="http://schemas.microsoft.com/office/drawing/2014/main" id="{0657658C-3D88-417A-A582-520CCE407C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5238" y="15208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4" name="Line 51">
              <a:extLst>
                <a:ext uri="{FF2B5EF4-FFF2-40B4-BE49-F238E27FC236}">
                  <a16:creationId xmlns:a16="http://schemas.microsoft.com/office/drawing/2014/main" id="{5862FA01-49C8-48D8-80CD-A61956981F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48763" y="1997076"/>
              <a:ext cx="7620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Line 52">
              <a:extLst>
                <a:ext uri="{FF2B5EF4-FFF2-40B4-BE49-F238E27FC236}">
                  <a16:creationId xmlns:a16="http://schemas.microsoft.com/office/drawing/2014/main" id="{2F7BD248-0EE3-4A8E-B7FE-DA4DB99BE1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1000" y="19970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id="{D19224D2-823D-475A-9FED-93916B359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0650" y="16827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3 h 198"/>
                <a:gd name="T6" fmla="*/ 30 w 221"/>
                <a:gd name="T7" fmla="*/ 103 h 198"/>
                <a:gd name="T8" fmla="*/ 31 w 221"/>
                <a:gd name="T9" fmla="*/ 0 h 198"/>
                <a:gd name="T10" fmla="*/ 129 w 221"/>
                <a:gd name="T11" fmla="*/ 0 h 198"/>
                <a:gd name="T12" fmla="*/ 177 w 221"/>
                <a:gd name="T13" fmla="*/ 136 h 198"/>
                <a:gd name="T14" fmla="*/ 202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3"/>
                  </a:lnTo>
                  <a:lnTo>
                    <a:pt x="30" y="103"/>
                  </a:lnTo>
                  <a:lnTo>
                    <a:pt x="31" y="0"/>
                  </a:lnTo>
                  <a:lnTo>
                    <a:pt x="129" y="0"/>
                  </a:lnTo>
                  <a:lnTo>
                    <a:pt x="177" y="136"/>
                  </a:lnTo>
                  <a:lnTo>
                    <a:pt x="202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293D8E87-8231-4166-8D93-D210D7293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0025" y="1714501"/>
              <a:ext cx="168275" cy="184150"/>
            </a:xfrm>
            <a:custGeom>
              <a:avLst/>
              <a:gdLst>
                <a:gd name="T0" fmla="*/ 0 w 106"/>
                <a:gd name="T1" fmla="*/ 0 h 116"/>
                <a:gd name="T2" fmla="*/ 65 w 106"/>
                <a:gd name="T3" fmla="*/ 0 h 116"/>
                <a:gd name="T4" fmla="*/ 106 w 106"/>
                <a:gd name="T5" fmla="*/ 116 h 116"/>
                <a:gd name="T6" fmla="*/ 62 w 106"/>
                <a:gd name="T7" fmla="*/ 116 h 116"/>
                <a:gd name="T8" fmla="*/ 42 w 106"/>
                <a:gd name="T9" fmla="*/ 81 h 116"/>
                <a:gd name="T10" fmla="*/ 0 w 106"/>
                <a:gd name="T11" fmla="*/ 81 h 116"/>
                <a:gd name="T12" fmla="*/ 0 w 106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16">
                  <a:moveTo>
                    <a:pt x="0" y="0"/>
                  </a:moveTo>
                  <a:lnTo>
                    <a:pt x="65" y="0"/>
                  </a:lnTo>
                  <a:lnTo>
                    <a:pt x="106" y="116"/>
                  </a:lnTo>
                  <a:lnTo>
                    <a:pt x="62" y="116"/>
                  </a:lnTo>
                  <a:lnTo>
                    <a:pt x="42" y="81"/>
                  </a:lnTo>
                  <a:lnTo>
                    <a:pt x="0" y="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8DD3DE4D-9B93-44C5-BBDB-05E0A1A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2113" y="1697038"/>
              <a:ext cx="230188" cy="296863"/>
            </a:xfrm>
            <a:custGeom>
              <a:avLst/>
              <a:gdLst>
                <a:gd name="T0" fmla="*/ 0 w 145"/>
                <a:gd name="T1" fmla="*/ 0 h 187"/>
                <a:gd name="T2" fmla="*/ 63 w 145"/>
                <a:gd name="T3" fmla="*/ 187 h 187"/>
                <a:gd name="T4" fmla="*/ 145 w 145"/>
                <a:gd name="T5" fmla="*/ 1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5" h="187">
                  <a:moveTo>
                    <a:pt x="0" y="0"/>
                  </a:moveTo>
                  <a:lnTo>
                    <a:pt x="63" y="187"/>
                  </a:lnTo>
                  <a:lnTo>
                    <a:pt x="145" y="162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Oval 56">
              <a:extLst>
                <a:ext uri="{FF2B5EF4-FFF2-40B4-BE49-F238E27FC236}">
                  <a16:creationId xmlns:a16="http://schemas.microsoft.com/office/drawing/2014/main" id="{80A21E69-0184-4944-AB8F-C6B90D590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5738" y="1970088"/>
              <a:ext cx="69850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Oval 57">
              <a:extLst>
                <a:ext uri="{FF2B5EF4-FFF2-40B4-BE49-F238E27FC236}">
                  <a16:creationId xmlns:a16="http://schemas.microsoft.com/office/drawing/2014/main" id="{45BE0E10-2203-4041-BA86-FF56EA58C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6550" y="19700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2EE963A9-1CA4-42C8-B5D8-56971CC57178}"/>
              </a:ext>
            </a:extLst>
          </p:cNvPr>
          <p:cNvSpPr txBox="1"/>
          <p:nvPr/>
        </p:nvSpPr>
        <p:spPr>
          <a:xfrm>
            <a:off x="3283954" y="2945719"/>
            <a:ext cx="933848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6E6482B-4BFC-4472-BAE8-022B25942A7E}"/>
              </a:ext>
            </a:extLst>
          </p:cNvPr>
          <p:cNvGrpSpPr/>
          <p:nvPr/>
        </p:nvGrpSpPr>
        <p:grpSpPr>
          <a:xfrm>
            <a:off x="2348699" y="2165516"/>
            <a:ext cx="703263" cy="703263"/>
            <a:chOff x="7100888" y="15081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43" name="Oval 10">
              <a:extLst>
                <a:ext uri="{FF2B5EF4-FFF2-40B4-BE49-F238E27FC236}">
                  <a16:creationId xmlns:a16="http://schemas.microsoft.com/office/drawing/2014/main" id="{BFA6D26B-9508-41C2-8E6A-FABB16B869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0888" y="15081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4" name="Freeform 103">
              <a:extLst>
                <a:ext uri="{FF2B5EF4-FFF2-40B4-BE49-F238E27FC236}">
                  <a16:creationId xmlns:a16="http://schemas.microsoft.com/office/drawing/2014/main" id="{9CEFBBFC-8EB2-4629-AA8D-883C43C16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1647826"/>
              <a:ext cx="379413" cy="381000"/>
            </a:xfrm>
            <a:custGeom>
              <a:avLst/>
              <a:gdLst>
                <a:gd name="T0" fmla="*/ 239 w 239"/>
                <a:gd name="T1" fmla="*/ 240 h 240"/>
                <a:gd name="T2" fmla="*/ 239 w 239"/>
                <a:gd name="T3" fmla="*/ 56 h 240"/>
                <a:gd name="T4" fmla="*/ 116 w 239"/>
                <a:gd name="T5" fmla="*/ 0 h 240"/>
                <a:gd name="T6" fmla="*/ 0 w 239"/>
                <a:gd name="T7" fmla="*/ 56 h 240"/>
                <a:gd name="T8" fmla="*/ 0 w 239"/>
                <a:gd name="T9" fmla="*/ 240 h 240"/>
                <a:gd name="T10" fmla="*/ 239 w 239"/>
                <a:gd name="T11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240">
                  <a:moveTo>
                    <a:pt x="239" y="240"/>
                  </a:moveTo>
                  <a:lnTo>
                    <a:pt x="239" y="56"/>
                  </a:lnTo>
                  <a:lnTo>
                    <a:pt x="116" y="0"/>
                  </a:lnTo>
                  <a:lnTo>
                    <a:pt x="0" y="56"/>
                  </a:lnTo>
                  <a:lnTo>
                    <a:pt x="0" y="240"/>
                  </a:lnTo>
                  <a:lnTo>
                    <a:pt x="239" y="240"/>
                  </a:lnTo>
                  <a:close/>
                </a:path>
              </a:pathLst>
            </a:cu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Rectangle 104">
              <a:extLst>
                <a:ext uri="{FF2B5EF4-FFF2-40B4-BE49-F238E27FC236}">
                  <a16:creationId xmlns:a16="http://schemas.microsoft.com/office/drawing/2014/main" id="{7723F43E-1FCF-47B5-A9B3-0A0C9D628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6" name="Rectangle 105">
              <a:extLst>
                <a:ext uri="{FF2B5EF4-FFF2-40B4-BE49-F238E27FC236}">
                  <a16:creationId xmlns:a16="http://schemas.microsoft.com/office/drawing/2014/main" id="{7F2C89B9-428E-4954-8E97-D6FEC4E07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1955801"/>
              <a:ext cx="61913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7" name="Rectangle 106">
              <a:extLst>
                <a:ext uri="{FF2B5EF4-FFF2-40B4-BE49-F238E27FC236}">
                  <a16:creationId xmlns:a16="http://schemas.microsoft.com/office/drawing/2014/main" id="{293E0ECF-CE7D-4745-A801-72F337E623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Rectangle 107">
              <a:extLst>
                <a:ext uri="{FF2B5EF4-FFF2-40B4-BE49-F238E27FC236}">
                  <a16:creationId xmlns:a16="http://schemas.microsoft.com/office/drawing/2014/main" id="{E35B420E-EB5C-4F7E-ABEA-E3D02271C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871663"/>
              <a:ext cx="60325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Rectangle 108">
              <a:extLst>
                <a:ext uri="{FF2B5EF4-FFF2-40B4-BE49-F238E27FC236}">
                  <a16:creationId xmlns:a16="http://schemas.microsoft.com/office/drawing/2014/main" id="{09CE5C62-6730-486F-B31F-D82E03746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871663"/>
              <a:ext cx="60325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0" name="Rectangle 109">
              <a:extLst>
                <a:ext uri="{FF2B5EF4-FFF2-40B4-BE49-F238E27FC236}">
                  <a16:creationId xmlns:a16="http://schemas.microsoft.com/office/drawing/2014/main" id="{C301A1C6-73DC-4B94-BBDE-C50DBC860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1871663"/>
              <a:ext cx="61913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Rectangle 110">
              <a:extLst>
                <a:ext uri="{FF2B5EF4-FFF2-40B4-BE49-F238E27FC236}">
                  <a16:creationId xmlns:a16="http://schemas.microsoft.com/office/drawing/2014/main" id="{CC890590-0694-4CA3-A52D-0BDCB11F7E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7907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111">
              <a:extLst>
                <a:ext uri="{FF2B5EF4-FFF2-40B4-BE49-F238E27FC236}">
                  <a16:creationId xmlns:a16="http://schemas.microsoft.com/office/drawing/2014/main" id="{B4A6655B-EABA-4833-94BB-C87B6F320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7907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112">
              <a:extLst>
                <a:ext uri="{FF2B5EF4-FFF2-40B4-BE49-F238E27FC236}">
                  <a16:creationId xmlns:a16="http://schemas.microsoft.com/office/drawing/2014/main" id="{66E16A20-247F-4ED4-85D7-B9902F062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2213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0A10B45F-F09C-4AC5-BEF6-3F8C5E18BAB4}"/>
              </a:ext>
            </a:extLst>
          </p:cNvPr>
          <p:cNvSpPr txBox="1"/>
          <p:nvPr/>
        </p:nvSpPr>
        <p:spPr>
          <a:xfrm>
            <a:off x="2238557" y="2961577"/>
            <a:ext cx="934054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reight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orwarder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41A756B-0629-4FB2-8FE8-E31EEDAB8D5F}"/>
              </a:ext>
            </a:extLst>
          </p:cNvPr>
          <p:cNvGrpSpPr/>
          <p:nvPr/>
        </p:nvGrpSpPr>
        <p:grpSpPr>
          <a:xfrm>
            <a:off x="6282287" y="2165516"/>
            <a:ext cx="701675" cy="703263"/>
            <a:chOff x="10671175" y="1514476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56" name="Oval 16">
              <a:extLst>
                <a:ext uri="{FF2B5EF4-FFF2-40B4-BE49-F238E27FC236}">
                  <a16:creationId xmlns:a16="http://schemas.microsoft.com/office/drawing/2014/main" id="{ABC8F694-A987-4F46-A54F-642BEA17D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1175" y="1514476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72">
              <a:extLst>
                <a:ext uri="{FF2B5EF4-FFF2-40B4-BE49-F238E27FC236}">
                  <a16:creationId xmlns:a16="http://schemas.microsoft.com/office/drawing/2014/main" id="{E9A45749-3CD2-424A-AB87-C388C5265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8813" y="1690688"/>
              <a:ext cx="404813" cy="342900"/>
            </a:xfrm>
            <a:custGeom>
              <a:avLst/>
              <a:gdLst>
                <a:gd name="T0" fmla="*/ 248 w 254"/>
                <a:gd name="T1" fmla="*/ 13 h 215"/>
                <a:gd name="T2" fmla="*/ 224 w 254"/>
                <a:gd name="T3" fmla="*/ 2 h 215"/>
                <a:gd name="T4" fmla="*/ 196 w 254"/>
                <a:gd name="T5" fmla="*/ 12 h 215"/>
                <a:gd name="T6" fmla="*/ 155 w 254"/>
                <a:gd name="T7" fmla="*/ 43 h 215"/>
                <a:gd name="T8" fmla="*/ 137 w 254"/>
                <a:gd name="T9" fmla="*/ 34 h 215"/>
                <a:gd name="T10" fmla="*/ 137 w 254"/>
                <a:gd name="T11" fmla="*/ 25 h 215"/>
                <a:gd name="T12" fmla="*/ 127 w 254"/>
                <a:gd name="T13" fmla="*/ 24 h 215"/>
                <a:gd name="T14" fmla="*/ 122 w 254"/>
                <a:gd name="T15" fmla="*/ 28 h 215"/>
                <a:gd name="T16" fmla="*/ 106 w 254"/>
                <a:gd name="T17" fmla="*/ 21 h 215"/>
                <a:gd name="T18" fmla="*/ 106 w 254"/>
                <a:gd name="T19" fmla="*/ 13 h 215"/>
                <a:gd name="T20" fmla="*/ 96 w 254"/>
                <a:gd name="T21" fmla="*/ 11 h 215"/>
                <a:gd name="T22" fmla="*/ 91 w 254"/>
                <a:gd name="T23" fmla="*/ 15 h 215"/>
                <a:gd name="T24" fmla="*/ 59 w 254"/>
                <a:gd name="T25" fmla="*/ 1 h 215"/>
                <a:gd name="T26" fmla="*/ 55 w 254"/>
                <a:gd name="T27" fmla="*/ 1 h 215"/>
                <a:gd name="T28" fmla="*/ 37 w 254"/>
                <a:gd name="T29" fmla="*/ 14 h 215"/>
                <a:gd name="T30" fmla="*/ 35 w 254"/>
                <a:gd name="T31" fmla="*/ 18 h 215"/>
                <a:gd name="T32" fmla="*/ 36 w 254"/>
                <a:gd name="T33" fmla="*/ 21 h 215"/>
                <a:gd name="T34" fmla="*/ 37 w 254"/>
                <a:gd name="T35" fmla="*/ 22 h 215"/>
                <a:gd name="T36" fmla="*/ 112 w 254"/>
                <a:gd name="T37" fmla="*/ 75 h 215"/>
                <a:gd name="T38" fmla="*/ 57 w 254"/>
                <a:gd name="T39" fmla="*/ 124 h 215"/>
                <a:gd name="T40" fmla="*/ 47 w 254"/>
                <a:gd name="T41" fmla="*/ 131 h 215"/>
                <a:gd name="T42" fmla="*/ 45 w 254"/>
                <a:gd name="T43" fmla="*/ 133 h 215"/>
                <a:gd name="T44" fmla="*/ 13 w 254"/>
                <a:gd name="T45" fmla="*/ 128 h 215"/>
                <a:gd name="T46" fmla="*/ 10 w 254"/>
                <a:gd name="T47" fmla="*/ 129 h 215"/>
                <a:gd name="T48" fmla="*/ 2 w 254"/>
                <a:gd name="T49" fmla="*/ 135 h 215"/>
                <a:gd name="T50" fmla="*/ 2 w 254"/>
                <a:gd name="T51" fmla="*/ 140 h 215"/>
                <a:gd name="T52" fmla="*/ 56 w 254"/>
                <a:gd name="T53" fmla="*/ 213 h 215"/>
                <a:gd name="T54" fmla="*/ 61 w 254"/>
                <a:gd name="T55" fmla="*/ 214 h 215"/>
                <a:gd name="T56" fmla="*/ 69 w 254"/>
                <a:gd name="T57" fmla="*/ 208 h 215"/>
                <a:gd name="T58" fmla="*/ 70 w 254"/>
                <a:gd name="T59" fmla="*/ 206 h 215"/>
                <a:gd name="T60" fmla="*/ 75 w 254"/>
                <a:gd name="T61" fmla="*/ 174 h 215"/>
                <a:gd name="T62" fmla="*/ 102 w 254"/>
                <a:gd name="T63" fmla="*/ 154 h 215"/>
                <a:gd name="T64" fmla="*/ 111 w 254"/>
                <a:gd name="T65" fmla="*/ 147 h 215"/>
                <a:gd name="T66" fmla="*/ 149 w 254"/>
                <a:gd name="T67" fmla="*/ 125 h 215"/>
                <a:gd name="T68" fmla="*/ 178 w 254"/>
                <a:gd name="T69" fmla="*/ 211 h 215"/>
                <a:gd name="T70" fmla="*/ 179 w 254"/>
                <a:gd name="T71" fmla="*/ 213 h 215"/>
                <a:gd name="T72" fmla="*/ 181 w 254"/>
                <a:gd name="T73" fmla="*/ 214 h 215"/>
                <a:gd name="T74" fmla="*/ 185 w 254"/>
                <a:gd name="T75" fmla="*/ 214 h 215"/>
                <a:gd name="T76" fmla="*/ 202 w 254"/>
                <a:gd name="T77" fmla="*/ 201 h 215"/>
                <a:gd name="T78" fmla="*/ 204 w 254"/>
                <a:gd name="T79" fmla="*/ 197 h 215"/>
                <a:gd name="T80" fmla="*/ 200 w 254"/>
                <a:gd name="T81" fmla="*/ 162 h 215"/>
                <a:gd name="T82" fmla="*/ 205 w 254"/>
                <a:gd name="T83" fmla="*/ 158 h 215"/>
                <a:gd name="T84" fmla="*/ 206 w 254"/>
                <a:gd name="T85" fmla="*/ 149 h 215"/>
                <a:gd name="T86" fmla="*/ 198 w 254"/>
                <a:gd name="T87" fmla="*/ 146 h 215"/>
                <a:gd name="T88" fmla="*/ 196 w 254"/>
                <a:gd name="T89" fmla="*/ 129 h 215"/>
                <a:gd name="T90" fmla="*/ 202 w 254"/>
                <a:gd name="T91" fmla="*/ 124 h 215"/>
                <a:gd name="T92" fmla="*/ 203 w 254"/>
                <a:gd name="T93" fmla="*/ 115 h 215"/>
                <a:gd name="T94" fmla="*/ 195 w 254"/>
                <a:gd name="T95" fmla="*/ 113 h 215"/>
                <a:gd name="T96" fmla="*/ 192 w 254"/>
                <a:gd name="T97" fmla="*/ 93 h 215"/>
                <a:gd name="T98" fmla="*/ 233 w 254"/>
                <a:gd name="T99" fmla="*/ 62 h 215"/>
                <a:gd name="T100" fmla="*/ 251 w 254"/>
                <a:gd name="T101" fmla="*/ 38 h 215"/>
                <a:gd name="T102" fmla="*/ 248 w 254"/>
                <a:gd name="T103" fmla="*/ 1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4" h="215">
                  <a:moveTo>
                    <a:pt x="248" y="13"/>
                  </a:moveTo>
                  <a:cubicBezTo>
                    <a:pt x="243" y="6"/>
                    <a:pt x="234" y="2"/>
                    <a:pt x="224" y="2"/>
                  </a:cubicBezTo>
                  <a:cubicBezTo>
                    <a:pt x="215" y="2"/>
                    <a:pt x="205" y="6"/>
                    <a:pt x="196" y="12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9" y="32"/>
                    <a:pt x="139" y="28"/>
                    <a:pt x="137" y="25"/>
                  </a:cubicBezTo>
                  <a:cubicBezTo>
                    <a:pt x="135" y="22"/>
                    <a:pt x="131" y="22"/>
                    <a:pt x="127" y="24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7" y="19"/>
                    <a:pt x="107" y="15"/>
                    <a:pt x="106" y="13"/>
                  </a:cubicBezTo>
                  <a:cubicBezTo>
                    <a:pt x="103" y="10"/>
                    <a:pt x="99" y="9"/>
                    <a:pt x="96" y="11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6" y="1"/>
                    <a:pt x="55" y="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6" y="15"/>
                    <a:pt x="35" y="17"/>
                    <a:pt x="35" y="18"/>
                  </a:cubicBezTo>
                  <a:cubicBezTo>
                    <a:pt x="35" y="19"/>
                    <a:pt x="36" y="20"/>
                    <a:pt x="36" y="21"/>
                  </a:cubicBezTo>
                  <a:cubicBezTo>
                    <a:pt x="37" y="21"/>
                    <a:pt x="37" y="21"/>
                    <a:pt x="37" y="22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57" y="124"/>
                    <a:pt x="57" y="124"/>
                    <a:pt x="57" y="124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2"/>
                    <a:pt x="46" y="132"/>
                    <a:pt x="45" y="133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2" y="128"/>
                    <a:pt x="11" y="128"/>
                    <a:pt x="10" y="129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1" y="136"/>
                    <a:pt x="0" y="138"/>
                    <a:pt x="2" y="140"/>
                  </a:cubicBezTo>
                  <a:cubicBezTo>
                    <a:pt x="56" y="213"/>
                    <a:pt x="56" y="213"/>
                    <a:pt x="56" y="213"/>
                  </a:cubicBezTo>
                  <a:cubicBezTo>
                    <a:pt x="57" y="215"/>
                    <a:pt x="59" y="215"/>
                    <a:pt x="61" y="214"/>
                  </a:cubicBezTo>
                  <a:cubicBezTo>
                    <a:pt x="69" y="208"/>
                    <a:pt x="69" y="208"/>
                    <a:pt x="69" y="208"/>
                  </a:cubicBezTo>
                  <a:cubicBezTo>
                    <a:pt x="70" y="207"/>
                    <a:pt x="70" y="207"/>
                    <a:pt x="70" y="206"/>
                  </a:cubicBezTo>
                  <a:cubicBezTo>
                    <a:pt x="75" y="174"/>
                    <a:pt x="75" y="174"/>
                    <a:pt x="75" y="174"/>
                  </a:cubicBezTo>
                  <a:cubicBezTo>
                    <a:pt x="76" y="173"/>
                    <a:pt x="101" y="154"/>
                    <a:pt x="102" y="154"/>
                  </a:cubicBezTo>
                  <a:cubicBezTo>
                    <a:pt x="111" y="147"/>
                    <a:pt x="111" y="147"/>
                    <a:pt x="111" y="147"/>
                  </a:cubicBezTo>
                  <a:cubicBezTo>
                    <a:pt x="149" y="125"/>
                    <a:pt x="149" y="125"/>
                    <a:pt x="149" y="125"/>
                  </a:cubicBezTo>
                  <a:cubicBezTo>
                    <a:pt x="178" y="211"/>
                    <a:pt x="178" y="211"/>
                    <a:pt x="178" y="211"/>
                  </a:cubicBezTo>
                  <a:cubicBezTo>
                    <a:pt x="178" y="212"/>
                    <a:pt x="178" y="212"/>
                    <a:pt x="179" y="213"/>
                  </a:cubicBezTo>
                  <a:cubicBezTo>
                    <a:pt x="179" y="213"/>
                    <a:pt x="180" y="214"/>
                    <a:pt x="181" y="214"/>
                  </a:cubicBezTo>
                  <a:cubicBezTo>
                    <a:pt x="182" y="215"/>
                    <a:pt x="184" y="215"/>
                    <a:pt x="185" y="214"/>
                  </a:cubicBezTo>
                  <a:cubicBezTo>
                    <a:pt x="202" y="201"/>
                    <a:pt x="202" y="201"/>
                    <a:pt x="202" y="201"/>
                  </a:cubicBezTo>
                  <a:cubicBezTo>
                    <a:pt x="204" y="200"/>
                    <a:pt x="204" y="198"/>
                    <a:pt x="204" y="197"/>
                  </a:cubicBezTo>
                  <a:cubicBezTo>
                    <a:pt x="200" y="162"/>
                    <a:pt x="200" y="162"/>
                    <a:pt x="200" y="162"/>
                  </a:cubicBezTo>
                  <a:cubicBezTo>
                    <a:pt x="205" y="158"/>
                    <a:pt x="205" y="158"/>
                    <a:pt x="205" y="158"/>
                  </a:cubicBezTo>
                  <a:cubicBezTo>
                    <a:pt x="208" y="156"/>
                    <a:pt x="209" y="152"/>
                    <a:pt x="206" y="149"/>
                  </a:cubicBezTo>
                  <a:cubicBezTo>
                    <a:pt x="204" y="146"/>
                    <a:pt x="201" y="145"/>
                    <a:pt x="198" y="146"/>
                  </a:cubicBezTo>
                  <a:cubicBezTo>
                    <a:pt x="196" y="129"/>
                    <a:pt x="196" y="129"/>
                    <a:pt x="196" y="129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5" y="122"/>
                    <a:pt x="206" y="118"/>
                    <a:pt x="203" y="115"/>
                  </a:cubicBezTo>
                  <a:cubicBezTo>
                    <a:pt x="201" y="112"/>
                    <a:pt x="198" y="111"/>
                    <a:pt x="195" y="113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33" y="62"/>
                    <a:pt x="233" y="62"/>
                    <a:pt x="233" y="62"/>
                  </a:cubicBezTo>
                  <a:cubicBezTo>
                    <a:pt x="242" y="56"/>
                    <a:pt x="248" y="48"/>
                    <a:pt x="251" y="38"/>
                  </a:cubicBezTo>
                  <a:cubicBezTo>
                    <a:pt x="254" y="29"/>
                    <a:pt x="253" y="20"/>
                    <a:pt x="248" y="13"/>
                  </a:cubicBez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D888797B-EDEE-4978-BAC3-47BE868AA187}"/>
              </a:ext>
            </a:extLst>
          </p:cNvPr>
          <p:cNvSpPr txBox="1"/>
          <p:nvPr/>
        </p:nvSpPr>
        <p:spPr>
          <a:xfrm>
            <a:off x="6156561" y="2961577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BA084A9-4919-47F9-8AD4-66C02A309AF7}"/>
              </a:ext>
            </a:extLst>
          </p:cNvPr>
          <p:cNvGrpSpPr/>
          <p:nvPr/>
        </p:nvGrpSpPr>
        <p:grpSpPr>
          <a:xfrm>
            <a:off x="4328314" y="2165516"/>
            <a:ext cx="701675" cy="703263"/>
            <a:chOff x="10671175" y="1514476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60" name="Oval 16">
              <a:extLst>
                <a:ext uri="{FF2B5EF4-FFF2-40B4-BE49-F238E27FC236}">
                  <a16:creationId xmlns:a16="http://schemas.microsoft.com/office/drawing/2014/main" id="{5806CBB8-F3C6-4C10-A37F-EE6F3BD33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1175" y="1514476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Freeform 72">
              <a:extLst>
                <a:ext uri="{FF2B5EF4-FFF2-40B4-BE49-F238E27FC236}">
                  <a16:creationId xmlns:a16="http://schemas.microsoft.com/office/drawing/2014/main" id="{7C3381E9-AC80-4635-9BAB-B8F17FE22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8813" y="1690688"/>
              <a:ext cx="404813" cy="342900"/>
            </a:xfrm>
            <a:custGeom>
              <a:avLst/>
              <a:gdLst>
                <a:gd name="T0" fmla="*/ 248 w 254"/>
                <a:gd name="T1" fmla="*/ 13 h 215"/>
                <a:gd name="T2" fmla="*/ 224 w 254"/>
                <a:gd name="T3" fmla="*/ 2 h 215"/>
                <a:gd name="T4" fmla="*/ 196 w 254"/>
                <a:gd name="T5" fmla="*/ 12 h 215"/>
                <a:gd name="T6" fmla="*/ 155 w 254"/>
                <a:gd name="T7" fmla="*/ 43 h 215"/>
                <a:gd name="T8" fmla="*/ 137 w 254"/>
                <a:gd name="T9" fmla="*/ 34 h 215"/>
                <a:gd name="T10" fmla="*/ 137 w 254"/>
                <a:gd name="T11" fmla="*/ 25 h 215"/>
                <a:gd name="T12" fmla="*/ 127 w 254"/>
                <a:gd name="T13" fmla="*/ 24 h 215"/>
                <a:gd name="T14" fmla="*/ 122 w 254"/>
                <a:gd name="T15" fmla="*/ 28 h 215"/>
                <a:gd name="T16" fmla="*/ 106 w 254"/>
                <a:gd name="T17" fmla="*/ 21 h 215"/>
                <a:gd name="T18" fmla="*/ 106 w 254"/>
                <a:gd name="T19" fmla="*/ 13 h 215"/>
                <a:gd name="T20" fmla="*/ 96 w 254"/>
                <a:gd name="T21" fmla="*/ 11 h 215"/>
                <a:gd name="T22" fmla="*/ 91 w 254"/>
                <a:gd name="T23" fmla="*/ 15 h 215"/>
                <a:gd name="T24" fmla="*/ 59 w 254"/>
                <a:gd name="T25" fmla="*/ 1 h 215"/>
                <a:gd name="T26" fmla="*/ 55 w 254"/>
                <a:gd name="T27" fmla="*/ 1 h 215"/>
                <a:gd name="T28" fmla="*/ 37 w 254"/>
                <a:gd name="T29" fmla="*/ 14 h 215"/>
                <a:gd name="T30" fmla="*/ 35 w 254"/>
                <a:gd name="T31" fmla="*/ 18 h 215"/>
                <a:gd name="T32" fmla="*/ 36 w 254"/>
                <a:gd name="T33" fmla="*/ 21 h 215"/>
                <a:gd name="T34" fmla="*/ 37 w 254"/>
                <a:gd name="T35" fmla="*/ 22 h 215"/>
                <a:gd name="T36" fmla="*/ 112 w 254"/>
                <a:gd name="T37" fmla="*/ 75 h 215"/>
                <a:gd name="T38" fmla="*/ 57 w 254"/>
                <a:gd name="T39" fmla="*/ 124 h 215"/>
                <a:gd name="T40" fmla="*/ 47 w 254"/>
                <a:gd name="T41" fmla="*/ 131 h 215"/>
                <a:gd name="T42" fmla="*/ 45 w 254"/>
                <a:gd name="T43" fmla="*/ 133 h 215"/>
                <a:gd name="T44" fmla="*/ 13 w 254"/>
                <a:gd name="T45" fmla="*/ 128 h 215"/>
                <a:gd name="T46" fmla="*/ 10 w 254"/>
                <a:gd name="T47" fmla="*/ 129 h 215"/>
                <a:gd name="T48" fmla="*/ 2 w 254"/>
                <a:gd name="T49" fmla="*/ 135 h 215"/>
                <a:gd name="T50" fmla="*/ 2 w 254"/>
                <a:gd name="T51" fmla="*/ 140 h 215"/>
                <a:gd name="T52" fmla="*/ 56 w 254"/>
                <a:gd name="T53" fmla="*/ 213 h 215"/>
                <a:gd name="T54" fmla="*/ 61 w 254"/>
                <a:gd name="T55" fmla="*/ 214 h 215"/>
                <a:gd name="T56" fmla="*/ 69 w 254"/>
                <a:gd name="T57" fmla="*/ 208 h 215"/>
                <a:gd name="T58" fmla="*/ 70 w 254"/>
                <a:gd name="T59" fmla="*/ 206 h 215"/>
                <a:gd name="T60" fmla="*/ 75 w 254"/>
                <a:gd name="T61" fmla="*/ 174 h 215"/>
                <a:gd name="T62" fmla="*/ 102 w 254"/>
                <a:gd name="T63" fmla="*/ 154 h 215"/>
                <a:gd name="T64" fmla="*/ 111 w 254"/>
                <a:gd name="T65" fmla="*/ 147 h 215"/>
                <a:gd name="T66" fmla="*/ 149 w 254"/>
                <a:gd name="T67" fmla="*/ 125 h 215"/>
                <a:gd name="T68" fmla="*/ 178 w 254"/>
                <a:gd name="T69" fmla="*/ 211 h 215"/>
                <a:gd name="T70" fmla="*/ 179 w 254"/>
                <a:gd name="T71" fmla="*/ 213 h 215"/>
                <a:gd name="T72" fmla="*/ 181 w 254"/>
                <a:gd name="T73" fmla="*/ 214 h 215"/>
                <a:gd name="T74" fmla="*/ 185 w 254"/>
                <a:gd name="T75" fmla="*/ 214 h 215"/>
                <a:gd name="T76" fmla="*/ 202 w 254"/>
                <a:gd name="T77" fmla="*/ 201 h 215"/>
                <a:gd name="T78" fmla="*/ 204 w 254"/>
                <a:gd name="T79" fmla="*/ 197 h 215"/>
                <a:gd name="T80" fmla="*/ 200 w 254"/>
                <a:gd name="T81" fmla="*/ 162 h 215"/>
                <a:gd name="T82" fmla="*/ 205 w 254"/>
                <a:gd name="T83" fmla="*/ 158 h 215"/>
                <a:gd name="T84" fmla="*/ 206 w 254"/>
                <a:gd name="T85" fmla="*/ 149 h 215"/>
                <a:gd name="T86" fmla="*/ 198 w 254"/>
                <a:gd name="T87" fmla="*/ 146 h 215"/>
                <a:gd name="T88" fmla="*/ 196 w 254"/>
                <a:gd name="T89" fmla="*/ 129 h 215"/>
                <a:gd name="T90" fmla="*/ 202 w 254"/>
                <a:gd name="T91" fmla="*/ 124 h 215"/>
                <a:gd name="T92" fmla="*/ 203 w 254"/>
                <a:gd name="T93" fmla="*/ 115 h 215"/>
                <a:gd name="T94" fmla="*/ 195 w 254"/>
                <a:gd name="T95" fmla="*/ 113 h 215"/>
                <a:gd name="T96" fmla="*/ 192 w 254"/>
                <a:gd name="T97" fmla="*/ 93 h 215"/>
                <a:gd name="T98" fmla="*/ 233 w 254"/>
                <a:gd name="T99" fmla="*/ 62 h 215"/>
                <a:gd name="T100" fmla="*/ 251 w 254"/>
                <a:gd name="T101" fmla="*/ 38 h 215"/>
                <a:gd name="T102" fmla="*/ 248 w 254"/>
                <a:gd name="T103" fmla="*/ 1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4" h="215">
                  <a:moveTo>
                    <a:pt x="248" y="13"/>
                  </a:moveTo>
                  <a:cubicBezTo>
                    <a:pt x="243" y="6"/>
                    <a:pt x="234" y="2"/>
                    <a:pt x="224" y="2"/>
                  </a:cubicBezTo>
                  <a:cubicBezTo>
                    <a:pt x="215" y="2"/>
                    <a:pt x="205" y="6"/>
                    <a:pt x="196" y="12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9" y="32"/>
                    <a:pt x="139" y="28"/>
                    <a:pt x="137" y="25"/>
                  </a:cubicBezTo>
                  <a:cubicBezTo>
                    <a:pt x="135" y="22"/>
                    <a:pt x="131" y="22"/>
                    <a:pt x="127" y="24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7" y="19"/>
                    <a:pt x="107" y="15"/>
                    <a:pt x="106" y="13"/>
                  </a:cubicBezTo>
                  <a:cubicBezTo>
                    <a:pt x="103" y="10"/>
                    <a:pt x="99" y="9"/>
                    <a:pt x="96" y="11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6" y="1"/>
                    <a:pt x="55" y="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6" y="15"/>
                    <a:pt x="35" y="17"/>
                    <a:pt x="35" y="18"/>
                  </a:cubicBezTo>
                  <a:cubicBezTo>
                    <a:pt x="35" y="19"/>
                    <a:pt x="36" y="20"/>
                    <a:pt x="36" y="21"/>
                  </a:cubicBezTo>
                  <a:cubicBezTo>
                    <a:pt x="37" y="21"/>
                    <a:pt x="37" y="21"/>
                    <a:pt x="37" y="22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57" y="124"/>
                    <a:pt x="57" y="124"/>
                    <a:pt x="57" y="124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2"/>
                    <a:pt x="46" y="132"/>
                    <a:pt x="45" y="133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2" y="128"/>
                    <a:pt x="11" y="128"/>
                    <a:pt x="10" y="129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1" y="136"/>
                    <a:pt x="0" y="138"/>
                    <a:pt x="2" y="140"/>
                  </a:cubicBezTo>
                  <a:cubicBezTo>
                    <a:pt x="56" y="213"/>
                    <a:pt x="56" y="213"/>
                    <a:pt x="56" y="213"/>
                  </a:cubicBezTo>
                  <a:cubicBezTo>
                    <a:pt x="57" y="215"/>
                    <a:pt x="59" y="215"/>
                    <a:pt x="61" y="214"/>
                  </a:cubicBezTo>
                  <a:cubicBezTo>
                    <a:pt x="69" y="208"/>
                    <a:pt x="69" y="208"/>
                    <a:pt x="69" y="208"/>
                  </a:cubicBezTo>
                  <a:cubicBezTo>
                    <a:pt x="70" y="207"/>
                    <a:pt x="70" y="207"/>
                    <a:pt x="70" y="206"/>
                  </a:cubicBezTo>
                  <a:cubicBezTo>
                    <a:pt x="75" y="174"/>
                    <a:pt x="75" y="174"/>
                    <a:pt x="75" y="174"/>
                  </a:cubicBezTo>
                  <a:cubicBezTo>
                    <a:pt x="76" y="173"/>
                    <a:pt x="101" y="154"/>
                    <a:pt x="102" y="154"/>
                  </a:cubicBezTo>
                  <a:cubicBezTo>
                    <a:pt x="111" y="147"/>
                    <a:pt x="111" y="147"/>
                    <a:pt x="111" y="147"/>
                  </a:cubicBezTo>
                  <a:cubicBezTo>
                    <a:pt x="149" y="125"/>
                    <a:pt x="149" y="125"/>
                    <a:pt x="149" y="125"/>
                  </a:cubicBezTo>
                  <a:cubicBezTo>
                    <a:pt x="178" y="211"/>
                    <a:pt x="178" y="211"/>
                    <a:pt x="178" y="211"/>
                  </a:cubicBezTo>
                  <a:cubicBezTo>
                    <a:pt x="178" y="212"/>
                    <a:pt x="178" y="212"/>
                    <a:pt x="179" y="213"/>
                  </a:cubicBezTo>
                  <a:cubicBezTo>
                    <a:pt x="179" y="213"/>
                    <a:pt x="180" y="214"/>
                    <a:pt x="181" y="214"/>
                  </a:cubicBezTo>
                  <a:cubicBezTo>
                    <a:pt x="182" y="215"/>
                    <a:pt x="184" y="215"/>
                    <a:pt x="185" y="214"/>
                  </a:cubicBezTo>
                  <a:cubicBezTo>
                    <a:pt x="202" y="201"/>
                    <a:pt x="202" y="201"/>
                    <a:pt x="202" y="201"/>
                  </a:cubicBezTo>
                  <a:cubicBezTo>
                    <a:pt x="204" y="200"/>
                    <a:pt x="204" y="198"/>
                    <a:pt x="204" y="197"/>
                  </a:cubicBezTo>
                  <a:cubicBezTo>
                    <a:pt x="200" y="162"/>
                    <a:pt x="200" y="162"/>
                    <a:pt x="200" y="162"/>
                  </a:cubicBezTo>
                  <a:cubicBezTo>
                    <a:pt x="205" y="158"/>
                    <a:pt x="205" y="158"/>
                    <a:pt x="205" y="158"/>
                  </a:cubicBezTo>
                  <a:cubicBezTo>
                    <a:pt x="208" y="156"/>
                    <a:pt x="209" y="152"/>
                    <a:pt x="206" y="149"/>
                  </a:cubicBezTo>
                  <a:cubicBezTo>
                    <a:pt x="204" y="146"/>
                    <a:pt x="201" y="145"/>
                    <a:pt x="198" y="146"/>
                  </a:cubicBezTo>
                  <a:cubicBezTo>
                    <a:pt x="196" y="129"/>
                    <a:pt x="196" y="129"/>
                    <a:pt x="196" y="129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5" y="122"/>
                    <a:pt x="206" y="118"/>
                    <a:pt x="203" y="115"/>
                  </a:cubicBezTo>
                  <a:cubicBezTo>
                    <a:pt x="201" y="112"/>
                    <a:pt x="198" y="111"/>
                    <a:pt x="195" y="113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33" y="62"/>
                    <a:pt x="233" y="62"/>
                    <a:pt x="233" y="62"/>
                  </a:cubicBezTo>
                  <a:cubicBezTo>
                    <a:pt x="242" y="56"/>
                    <a:pt x="248" y="48"/>
                    <a:pt x="251" y="38"/>
                  </a:cubicBezTo>
                  <a:cubicBezTo>
                    <a:pt x="254" y="29"/>
                    <a:pt x="253" y="20"/>
                    <a:pt x="248" y="13"/>
                  </a:cubicBez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36DE1F0A-79D8-4DA9-8BE8-1F03B89FAACA}"/>
              </a:ext>
            </a:extLst>
          </p:cNvPr>
          <p:cNvSpPr txBox="1"/>
          <p:nvPr/>
        </p:nvSpPr>
        <p:spPr>
          <a:xfrm>
            <a:off x="4201272" y="295206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DA57E02-5B4D-4503-B3A9-F30B80AFEB85}"/>
              </a:ext>
            </a:extLst>
          </p:cNvPr>
          <p:cNvGrpSpPr/>
          <p:nvPr/>
        </p:nvGrpSpPr>
        <p:grpSpPr>
          <a:xfrm>
            <a:off x="5342157" y="2165516"/>
            <a:ext cx="703263" cy="703263"/>
            <a:chOff x="8885238" y="15208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64" name="Oval 14">
              <a:extLst>
                <a:ext uri="{FF2B5EF4-FFF2-40B4-BE49-F238E27FC236}">
                  <a16:creationId xmlns:a16="http://schemas.microsoft.com/office/drawing/2014/main" id="{F008F643-EB6F-4F3C-992C-6FFD78B0D9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5238" y="15208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Line 51">
              <a:extLst>
                <a:ext uri="{FF2B5EF4-FFF2-40B4-BE49-F238E27FC236}">
                  <a16:creationId xmlns:a16="http://schemas.microsoft.com/office/drawing/2014/main" id="{2C5DD14D-24EA-498A-AE18-07CBAAF616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48763" y="1997076"/>
              <a:ext cx="7620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Line 52">
              <a:extLst>
                <a:ext uri="{FF2B5EF4-FFF2-40B4-BE49-F238E27FC236}">
                  <a16:creationId xmlns:a16="http://schemas.microsoft.com/office/drawing/2014/main" id="{4E99D413-87B5-4BE3-BFBA-5FC508A01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1000" y="19970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Freeform 53">
              <a:extLst>
                <a:ext uri="{FF2B5EF4-FFF2-40B4-BE49-F238E27FC236}">
                  <a16:creationId xmlns:a16="http://schemas.microsoft.com/office/drawing/2014/main" id="{7A925864-A060-4537-BE38-4C5848F9C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0650" y="16827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3 h 198"/>
                <a:gd name="T6" fmla="*/ 30 w 221"/>
                <a:gd name="T7" fmla="*/ 103 h 198"/>
                <a:gd name="T8" fmla="*/ 31 w 221"/>
                <a:gd name="T9" fmla="*/ 0 h 198"/>
                <a:gd name="T10" fmla="*/ 129 w 221"/>
                <a:gd name="T11" fmla="*/ 0 h 198"/>
                <a:gd name="T12" fmla="*/ 177 w 221"/>
                <a:gd name="T13" fmla="*/ 136 h 198"/>
                <a:gd name="T14" fmla="*/ 202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3"/>
                  </a:lnTo>
                  <a:lnTo>
                    <a:pt x="30" y="103"/>
                  </a:lnTo>
                  <a:lnTo>
                    <a:pt x="31" y="0"/>
                  </a:lnTo>
                  <a:lnTo>
                    <a:pt x="129" y="0"/>
                  </a:lnTo>
                  <a:lnTo>
                    <a:pt x="177" y="136"/>
                  </a:lnTo>
                  <a:lnTo>
                    <a:pt x="202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54">
              <a:extLst>
                <a:ext uri="{FF2B5EF4-FFF2-40B4-BE49-F238E27FC236}">
                  <a16:creationId xmlns:a16="http://schemas.microsoft.com/office/drawing/2014/main" id="{2D90CD0F-EF2F-4E28-8103-47E5C84FC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0025" y="1714501"/>
              <a:ext cx="168275" cy="184150"/>
            </a:xfrm>
            <a:custGeom>
              <a:avLst/>
              <a:gdLst>
                <a:gd name="T0" fmla="*/ 0 w 106"/>
                <a:gd name="T1" fmla="*/ 0 h 116"/>
                <a:gd name="T2" fmla="*/ 65 w 106"/>
                <a:gd name="T3" fmla="*/ 0 h 116"/>
                <a:gd name="T4" fmla="*/ 106 w 106"/>
                <a:gd name="T5" fmla="*/ 116 h 116"/>
                <a:gd name="T6" fmla="*/ 62 w 106"/>
                <a:gd name="T7" fmla="*/ 116 h 116"/>
                <a:gd name="T8" fmla="*/ 42 w 106"/>
                <a:gd name="T9" fmla="*/ 81 h 116"/>
                <a:gd name="T10" fmla="*/ 0 w 106"/>
                <a:gd name="T11" fmla="*/ 81 h 116"/>
                <a:gd name="T12" fmla="*/ 0 w 106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16">
                  <a:moveTo>
                    <a:pt x="0" y="0"/>
                  </a:moveTo>
                  <a:lnTo>
                    <a:pt x="65" y="0"/>
                  </a:lnTo>
                  <a:lnTo>
                    <a:pt x="106" y="116"/>
                  </a:lnTo>
                  <a:lnTo>
                    <a:pt x="62" y="116"/>
                  </a:lnTo>
                  <a:lnTo>
                    <a:pt x="42" y="81"/>
                  </a:lnTo>
                  <a:lnTo>
                    <a:pt x="0" y="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Freeform 55">
              <a:extLst>
                <a:ext uri="{FF2B5EF4-FFF2-40B4-BE49-F238E27FC236}">
                  <a16:creationId xmlns:a16="http://schemas.microsoft.com/office/drawing/2014/main" id="{5B35CE57-F374-462B-B890-BE5BCC0E1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2113" y="1697038"/>
              <a:ext cx="230188" cy="296863"/>
            </a:xfrm>
            <a:custGeom>
              <a:avLst/>
              <a:gdLst>
                <a:gd name="T0" fmla="*/ 0 w 145"/>
                <a:gd name="T1" fmla="*/ 0 h 187"/>
                <a:gd name="T2" fmla="*/ 63 w 145"/>
                <a:gd name="T3" fmla="*/ 187 h 187"/>
                <a:gd name="T4" fmla="*/ 145 w 145"/>
                <a:gd name="T5" fmla="*/ 1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5" h="187">
                  <a:moveTo>
                    <a:pt x="0" y="0"/>
                  </a:moveTo>
                  <a:lnTo>
                    <a:pt x="63" y="187"/>
                  </a:lnTo>
                  <a:lnTo>
                    <a:pt x="145" y="162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Oval 56">
              <a:extLst>
                <a:ext uri="{FF2B5EF4-FFF2-40B4-BE49-F238E27FC236}">
                  <a16:creationId xmlns:a16="http://schemas.microsoft.com/office/drawing/2014/main" id="{CF11B730-9E1D-41D3-AF00-1642D4398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5738" y="1970088"/>
              <a:ext cx="69850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Oval 57">
              <a:extLst>
                <a:ext uri="{FF2B5EF4-FFF2-40B4-BE49-F238E27FC236}">
                  <a16:creationId xmlns:a16="http://schemas.microsoft.com/office/drawing/2014/main" id="{7CA481B7-FAEE-48E0-8AFB-A30795E91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6550" y="19700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0292CED4-9246-418E-A07F-99BAA1B4B7AF}"/>
              </a:ext>
            </a:extLst>
          </p:cNvPr>
          <p:cNvSpPr txBox="1"/>
          <p:nvPr/>
        </p:nvSpPr>
        <p:spPr>
          <a:xfrm>
            <a:off x="5216670" y="2936537"/>
            <a:ext cx="933848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845DF45-C20D-4FFC-8D4F-BE5C01F05B7E}"/>
              </a:ext>
            </a:extLst>
          </p:cNvPr>
          <p:cNvGrpSpPr/>
          <p:nvPr/>
        </p:nvGrpSpPr>
        <p:grpSpPr>
          <a:xfrm>
            <a:off x="7246842" y="2165516"/>
            <a:ext cx="703263" cy="703263"/>
            <a:chOff x="7085013" y="31210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74" name="Oval 8">
              <a:extLst>
                <a:ext uri="{FF2B5EF4-FFF2-40B4-BE49-F238E27FC236}">
                  <a16:creationId xmlns:a16="http://schemas.microsoft.com/office/drawing/2014/main" id="{9300FED1-8D12-4984-A060-90BB33F6C8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5013" y="31210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Line 58">
              <a:extLst>
                <a:ext uri="{FF2B5EF4-FFF2-40B4-BE49-F238E27FC236}">
                  <a16:creationId xmlns:a16="http://schemas.microsoft.com/office/drawing/2014/main" id="{00D7E20B-D6A9-4B65-B636-64AB2703FD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348538" y="3597276"/>
              <a:ext cx="73025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6" name="Line 59">
              <a:extLst>
                <a:ext uri="{FF2B5EF4-FFF2-40B4-BE49-F238E27FC236}">
                  <a16:creationId xmlns:a16="http://schemas.microsoft.com/office/drawing/2014/main" id="{A6607D65-6980-4ED0-9A9B-C308353CDB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69188" y="35972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Freeform 60">
              <a:extLst>
                <a:ext uri="{FF2B5EF4-FFF2-40B4-BE49-F238E27FC236}">
                  <a16:creationId xmlns:a16="http://schemas.microsoft.com/office/drawing/2014/main" id="{6DB41175-6009-4FC9-A669-699A9BD64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425" y="32829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4 h 198"/>
                <a:gd name="T6" fmla="*/ 30 w 221"/>
                <a:gd name="T7" fmla="*/ 104 h 198"/>
                <a:gd name="T8" fmla="*/ 30 w 221"/>
                <a:gd name="T9" fmla="*/ 0 h 198"/>
                <a:gd name="T10" fmla="*/ 128 w 221"/>
                <a:gd name="T11" fmla="*/ 0 h 198"/>
                <a:gd name="T12" fmla="*/ 177 w 221"/>
                <a:gd name="T13" fmla="*/ 136 h 198"/>
                <a:gd name="T14" fmla="*/ 201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4"/>
                  </a:lnTo>
                  <a:lnTo>
                    <a:pt x="30" y="104"/>
                  </a:lnTo>
                  <a:lnTo>
                    <a:pt x="30" y="0"/>
                  </a:lnTo>
                  <a:lnTo>
                    <a:pt x="128" y="0"/>
                  </a:lnTo>
                  <a:lnTo>
                    <a:pt x="177" y="136"/>
                  </a:lnTo>
                  <a:lnTo>
                    <a:pt x="201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8" name="Freeform 61">
              <a:extLst>
                <a:ext uri="{FF2B5EF4-FFF2-40B4-BE49-F238E27FC236}">
                  <a16:creationId xmlns:a16="http://schemas.microsoft.com/office/drawing/2014/main" id="{19C1D6E6-907F-47CC-8F35-A316FD2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800" y="3314701"/>
              <a:ext cx="166688" cy="184150"/>
            </a:xfrm>
            <a:custGeom>
              <a:avLst/>
              <a:gdLst>
                <a:gd name="T0" fmla="*/ 0 w 105"/>
                <a:gd name="T1" fmla="*/ 0 h 116"/>
                <a:gd name="T2" fmla="*/ 64 w 105"/>
                <a:gd name="T3" fmla="*/ 0 h 116"/>
                <a:gd name="T4" fmla="*/ 105 w 105"/>
                <a:gd name="T5" fmla="*/ 116 h 116"/>
                <a:gd name="T6" fmla="*/ 61 w 105"/>
                <a:gd name="T7" fmla="*/ 116 h 116"/>
                <a:gd name="T8" fmla="*/ 42 w 105"/>
                <a:gd name="T9" fmla="*/ 82 h 116"/>
                <a:gd name="T10" fmla="*/ 0 w 105"/>
                <a:gd name="T11" fmla="*/ 82 h 116"/>
                <a:gd name="T12" fmla="*/ 0 w 105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116">
                  <a:moveTo>
                    <a:pt x="0" y="0"/>
                  </a:moveTo>
                  <a:lnTo>
                    <a:pt x="64" y="0"/>
                  </a:lnTo>
                  <a:lnTo>
                    <a:pt x="105" y="116"/>
                  </a:lnTo>
                  <a:lnTo>
                    <a:pt x="61" y="116"/>
                  </a:lnTo>
                  <a:lnTo>
                    <a:pt x="42" y="82"/>
                  </a:lnTo>
                  <a:lnTo>
                    <a:pt x="0" y="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E221A362-5C56-46E1-BBA3-6D114616F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1888" y="3297238"/>
              <a:ext cx="227013" cy="296863"/>
            </a:xfrm>
            <a:custGeom>
              <a:avLst/>
              <a:gdLst>
                <a:gd name="T0" fmla="*/ 0 w 143"/>
                <a:gd name="T1" fmla="*/ 0 h 187"/>
                <a:gd name="T2" fmla="*/ 62 w 143"/>
                <a:gd name="T3" fmla="*/ 187 h 187"/>
                <a:gd name="T4" fmla="*/ 143 w 143"/>
                <a:gd name="T5" fmla="*/ 16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3" h="187">
                  <a:moveTo>
                    <a:pt x="0" y="0"/>
                  </a:moveTo>
                  <a:lnTo>
                    <a:pt x="62" y="187"/>
                  </a:lnTo>
                  <a:lnTo>
                    <a:pt x="143" y="163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0" name="Oval 63">
              <a:extLst>
                <a:ext uri="{FF2B5EF4-FFF2-40B4-BE49-F238E27FC236}">
                  <a16:creationId xmlns:a16="http://schemas.microsoft.com/office/drawing/2014/main" id="{86B779A9-C254-4E1C-AE8D-0565A5BEA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3925" y="35702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Oval 64">
              <a:extLst>
                <a:ext uri="{FF2B5EF4-FFF2-40B4-BE49-F238E27FC236}">
                  <a16:creationId xmlns:a16="http://schemas.microsoft.com/office/drawing/2014/main" id="{D551F2A1-1F13-4506-96E4-2F39CA38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4738" y="35702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70EBAD6B-7563-4D30-99DD-C6F6F2F64934}"/>
              </a:ext>
            </a:extLst>
          </p:cNvPr>
          <p:cNvSpPr txBox="1"/>
          <p:nvPr/>
        </p:nvSpPr>
        <p:spPr>
          <a:xfrm>
            <a:off x="7122671" y="2930050"/>
            <a:ext cx="934054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2B0BB71-EE42-43A4-87A8-578E44A06403}"/>
              </a:ext>
            </a:extLst>
          </p:cNvPr>
          <p:cNvGrpSpPr/>
          <p:nvPr/>
        </p:nvGrpSpPr>
        <p:grpSpPr>
          <a:xfrm>
            <a:off x="8222729" y="2165516"/>
            <a:ext cx="703263" cy="703263"/>
            <a:chOff x="7105650" y="4652963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84" name="Oval 22">
              <a:extLst>
                <a:ext uri="{FF2B5EF4-FFF2-40B4-BE49-F238E27FC236}">
                  <a16:creationId xmlns:a16="http://schemas.microsoft.com/office/drawing/2014/main" id="{3E378D85-29FE-4C9D-8C74-E7BEB2C53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5650" y="4652963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5" name="Line 34">
              <a:extLst>
                <a:ext uri="{FF2B5EF4-FFF2-40B4-BE49-F238E27FC236}">
                  <a16:creationId xmlns:a16="http://schemas.microsoft.com/office/drawing/2014/main" id="{7F00D501-56BA-4F61-BF96-6EE6FBBB59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89788" y="4983163"/>
              <a:ext cx="61913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6" name="Line 35">
              <a:extLst>
                <a:ext uri="{FF2B5EF4-FFF2-40B4-BE49-F238E27FC236}">
                  <a16:creationId xmlns:a16="http://schemas.microsoft.com/office/drawing/2014/main" id="{CC4CB40D-0F2E-43F6-9AA1-F28520D272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4388" y="4956176"/>
              <a:ext cx="87313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7" name="Oval 36">
              <a:extLst>
                <a:ext uri="{FF2B5EF4-FFF2-40B4-BE49-F238E27FC236}">
                  <a16:creationId xmlns:a16="http://schemas.microsoft.com/office/drawing/2014/main" id="{5DF6DB5C-0C19-456C-BB59-419D090D9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5988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8" name="Oval 37">
              <a:extLst>
                <a:ext uri="{FF2B5EF4-FFF2-40B4-BE49-F238E27FC236}">
                  <a16:creationId xmlns:a16="http://schemas.microsoft.com/office/drawing/2014/main" id="{C4B6B9E1-EC9E-4580-BB51-CC4791D77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4250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9" name="Oval 38">
              <a:extLst>
                <a:ext uri="{FF2B5EF4-FFF2-40B4-BE49-F238E27FC236}">
                  <a16:creationId xmlns:a16="http://schemas.microsoft.com/office/drawing/2014/main" id="{487B0A0B-4390-4F59-BA99-1C3B8EDB5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4100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0" name="Freeform 39">
              <a:extLst>
                <a:ext uri="{FF2B5EF4-FFF2-40B4-BE49-F238E27FC236}">
                  <a16:creationId xmlns:a16="http://schemas.microsoft.com/office/drawing/2014/main" id="{6C79A321-79B0-44B8-ADCF-5BF902EE0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5" y="4918076"/>
              <a:ext cx="36513" cy="22225"/>
            </a:xfrm>
            <a:custGeom>
              <a:avLst/>
              <a:gdLst>
                <a:gd name="T0" fmla="*/ 0 w 23"/>
                <a:gd name="T1" fmla="*/ 14 h 14"/>
                <a:gd name="T2" fmla="*/ 0 w 23"/>
                <a:gd name="T3" fmla="*/ 0 h 14"/>
                <a:gd name="T4" fmla="*/ 23 w 23"/>
                <a:gd name="T5" fmla="*/ 14 h 14"/>
                <a:gd name="T6" fmla="*/ 0 w 23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4">
                  <a:moveTo>
                    <a:pt x="0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6"/>
                    <a:pt x="23" y="14"/>
                    <a:pt x="23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1" name="Freeform 40">
              <a:extLst>
                <a:ext uri="{FF2B5EF4-FFF2-40B4-BE49-F238E27FC236}">
                  <a16:creationId xmlns:a16="http://schemas.microsoft.com/office/drawing/2014/main" id="{AF22BDE7-CED3-4B15-80F3-239BE28FD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4918076"/>
              <a:ext cx="388938" cy="157163"/>
            </a:xfrm>
            <a:custGeom>
              <a:avLst/>
              <a:gdLst>
                <a:gd name="T0" fmla="*/ 148 w 245"/>
                <a:gd name="T1" fmla="*/ 99 h 99"/>
                <a:gd name="T2" fmla="*/ 244 w 245"/>
                <a:gd name="T3" fmla="*/ 99 h 99"/>
                <a:gd name="T4" fmla="*/ 245 w 245"/>
                <a:gd name="T5" fmla="*/ 0 h 99"/>
                <a:gd name="T6" fmla="*/ 0 w 245"/>
                <a:gd name="T7" fmla="*/ 0 h 99"/>
                <a:gd name="T8" fmla="*/ 0 w 245"/>
                <a:gd name="T9" fmla="*/ 99 h 99"/>
                <a:gd name="T10" fmla="*/ 31 w 245"/>
                <a:gd name="T1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99">
                  <a:moveTo>
                    <a:pt x="148" y="99"/>
                  </a:moveTo>
                  <a:lnTo>
                    <a:pt x="244" y="99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99"/>
                  </a:lnTo>
                  <a:lnTo>
                    <a:pt x="31" y="99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2" name="Line 41">
              <a:extLst>
                <a:ext uri="{FF2B5EF4-FFF2-40B4-BE49-F238E27FC236}">
                  <a16:creationId xmlns:a16="http://schemas.microsoft.com/office/drawing/2014/main" id="{EE3F0B00-BB86-4FF6-8CF1-BE757EA1C5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3463" y="5075238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3" name="Line 42">
              <a:extLst>
                <a:ext uri="{FF2B5EF4-FFF2-40B4-BE49-F238E27FC236}">
                  <a16:creationId xmlns:a16="http://schemas.microsoft.com/office/drawing/2014/main" id="{D1DC041C-4D58-4EBA-BB4D-2698E670DD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13613" y="5075238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4" name="Freeform 43">
              <a:extLst>
                <a:ext uri="{FF2B5EF4-FFF2-40B4-BE49-F238E27FC236}">
                  <a16:creationId xmlns:a16="http://schemas.microsoft.com/office/drawing/2014/main" id="{AB07871A-9074-4F8A-81BF-0C8CDD793A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763" y="4956176"/>
              <a:ext cx="106363" cy="112713"/>
            </a:xfrm>
            <a:custGeom>
              <a:avLst/>
              <a:gdLst>
                <a:gd name="T0" fmla="*/ 48 w 67"/>
                <a:gd name="T1" fmla="*/ 71 h 71"/>
                <a:gd name="T2" fmla="*/ 67 w 67"/>
                <a:gd name="T3" fmla="*/ 71 h 71"/>
                <a:gd name="T4" fmla="*/ 67 w 67"/>
                <a:gd name="T5" fmla="*/ 42 h 71"/>
                <a:gd name="T6" fmla="*/ 67 w 67"/>
                <a:gd name="T7" fmla="*/ 34 h 71"/>
                <a:gd name="T8" fmla="*/ 52 w 67"/>
                <a:gd name="T9" fmla="*/ 0 h 71"/>
                <a:gd name="T10" fmla="*/ 0 w 67"/>
                <a:gd name="T11" fmla="*/ 0 h 71"/>
                <a:gd name="T12" fmla="*/ 0 w 67"/>
                <a:gd name="T13" fmla="*/ 71 h 71"/>
                <a:gd name="T14" fmla="*/ 18 w 67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71">
                  <a:moveTo>
                    <a:pt x="48" y="71"/>
                  </a:moveTo>
                  <a:lnTo>
                    <a:pt x="67" y="71"/>
                  </a:lnTo>
                  <a:lnTo>
                    <a:pt x="67" y="42"/>
                  </a:lnTo>
                  <a:lnTo>
                    <a:pt x="67" y="34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5" name="Oval 44">
              <a:extLst>
                <a:ext uri="{FF2B5EF4-FFF2-40B4-BE49-F238E27FC236}">
                  <a16:creationId xmlns:a16="http://schemas.microsoft.com/office/drawing/2014/main" id="{5A7645E5-2D66-4FE7-BCD9-B3A763B19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0163" y="5054601"/>
              <a:ext cx="53975" cy="55563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6D512D90-6D69-47E5-99FD-B270B512637E}"/>
              </a:ext>
            </a:extLst>
          </p:cNvPr>
          <p:cNvSpPr txBox="1"/>
          <p:nvPr/>
        </p:nvSpPr>
        <p:spPr>
          <a:xfrm>
            <a:off x="8098525" y="2925395"/>
            <a:ext cx="933848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38F07AA-9814-4E5D-91CC-E46CADB4F007}"/>
              </a:ext>
            </a:extLst>
          </p:cNvPr>
          <p:cNvGrpSpPr/>
          <p:nvPr/>
        </p:nvGrpSpPr>
        <p:grpSpPr>
          <a:xfrm>
            <a:off x="9202249" y="2165516"/>
            <a:ext cx="703263" cy="703263"/>
            <a:chOff x="8296275" y="4641851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98" name="Oval 11">
              <a:extLst>
                <a:ext uri="{FF2B5EF4-FFF2-40B4-BE49-F238E27FC236}">
                  <a16:creationId xmlns:a16="http://schemas.microsoft.com/office/drawing/2014/main" id="{610B49AD-8C4C-4111-8158-98CA8202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6275" y="4641851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9" name="Freeform 93">
              <a:extLst>
                <a:ext uri="{FF2B5EF4-FFF2-40B4-BE49-F238E27FC236}">
                  <a16:creationId xmlns:a16="http://schemas.microsoft.com/office/drawing/2014/main" id="{5BDAB1AC-F4DE-4621-B948-0799C7679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5" y="4770438"/>
              <a:ext cx="379413" cy="379413"/>
            </a:xfrm>
            <a:custGeom>
              <a:avLst/>
              <a:gdLst>
                <a:gd name="T0" fmla="*/ 239 w 239"/>
                <a:gd name="T1" fmla="*/ 239 h 239"/>
                <a:gd name="T2" fmla="*/ 239 w 239"/>
                <a:gd name="T3" fmla="*/ 55 h 239"/>
                <a:gd name="T4" fmla="*/ 116 w 239"/>
                <a:gd name="T5" fmla="*/ 0 h 239"/>
                <a:gd name="T6" fmla="*/ 0 w 239"/>
                <a:gd name="T7" fmla="*/ 55 h 239"/>
                <a:gd name="T8" fmla="*/ 0 w 239"/>
                <a:gd name="T9" fmla="*/ 239 h 239"/>
                <a:gd name="T10" fmla="*/ 239 w 239"/>
                <a:gd name="T11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239">
                  <a:moveTo>
                    <a:pt x="239" y="239"/>
                  </a:moveTo>
                  <a:lnTo>
                    <a:pt x="239" y="55"/>
                  </a:lnTo>
                  <a:lnTo>
                    <a:pt x="116" y="0"/>
                  </a:lnTo>
                  <a:lnTo>
                    <a:pt x="0" y="55"/>
                  </a:lnTo>
                  <a:lnTo>
                    <a:pt x="0" y="239"/>
                  </a:lnTo>
                  <a:lnTo>
                    <a:pt x="239" y="239"/>
                  </a:lnTo>
                  <a:close/>
                </a:path>
              </a:pathLst>
            </a:cu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Rectangle 94">
              <a:extLst>
                <a:ext uri="{FF2B5EF4-FFF2-40B4-BE49-F238E27FC236}">
                  <a16:creationId xmlns:a16="http://schemas.microsoft.com/office/drawing/2014/main" id="{E16B9B70-CCA3-422E-9D1D-F031EA131F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5076826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1" name="Rectangle 95">
              <a:extLst>
                <a:ext uri="{FF2B5EF4-FFF2-40B4-BE49-F238E27FC236}">
                  <a16:creationId xmlns:a16="http://schemas.microsoft.com/office/drawing/2014/main" id="{092995EF-3B07-4FE1-8BCA-9B9BC75EE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3463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2" name="Rectangle 96">
              <a:extLst>
                <a:ext uri="{FF2B5EF4-FFF2-40B4-BE49-F238E27FC236}">
                  <a16:creationId xmlns:a16="http://schemas.microsoft.com/office/drawing/2014/main" id="{7CCCB58F-860E-4AE7-8525-BDFDD421CF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3" name="Rectangle 97">
              <a:extLst>
                <a:ext uri="{FF2B5EF4-FFF2-40B4-BE49-F238E27FC236}">
                  <a16:creationId xmlns:a16="http://schemas.microsoft.com/office/drawing/2014/main" id="{2D2AE882-5D1E-4D78-BFA5-BB483F983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4994276"/>
              <a:ext cx="60325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Rectangle 98">
              <a:extLst>
                <a:ext uri="{FF2B5EF4-FFF2-40B4-BE49-F238E27FC236}">
                  <a16:creationId xmlns:a16="http://schemas.microsoft.com/office/drawing/2014/main" id="{5D03E048-059F-4015-9B02-064F91E90D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499427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5" name="Rectangle 99">
              <a:extLst>
                <a:ext uri="{FF2B5EF4-FFF2-40B4-BE49-F238E27FC236}">
                  <a16:creationId xmlns:a16="http://schemas.microsoft.com/office/drawing/2014/main" id="{69ED595D-6607-4910-8BA3-2D3C881F48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3463" y="499427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Rectangle 100">
              <a:extLst>
                <a:ext uri="{FF2B5EF4-FFF2-40B4-BE49-F238E27FC236}">
                  <a16:creationId xmlns:a16="http://schemas.microsoft.com/office/drawing/2014/main" id="{9B4965E1-FB6D-4545-9BD2-DCB69891BA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4911726"/>
              <a:ext cx="60325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7" name="Rectangle 101">
              <a:extLst>
                <a:ext uri="{FF2B5EF4-FFF2-40B4-BE49-F238E27FC236}">
                  <a16:creationId xmlns:a16="http://schemas.microsoft.com/office/drawing/2014/main" id="{3D919D22-7E20-451A-98FA-8C2A01C58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491172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Rectangle 102">
              <a:extLst>
                <a:ext uri="{FF2B5EF4-FFF2-40B4-BE49-F238E27FC236}">
                  <a16:creationId xmlns:a16="http://schemas.microsoft.com/office/drawing/2014/main" id="{81B0CDBC-076F-4532-BEDF-EE183F12A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37600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0C18D7E1-D21B-436A-B0FC-CF9A96DA2E21}"/>
              </a:ext>
            </a:extLst>
          </p:cNvPr>
          <p:cNvSpPr txBox="1"/>
          <p:nvPr/>
        </p:nvSpPr>
        <p:spPr>
          <a:xfrm>
            <a:off x="9077806" y="2918164"/>
            <a:ext cx="933848" cy="2493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reight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orwarder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DEEA008-5F5E-4C6E-BAA5-2FB90A8236B5}"/>
              </a:ext>
            </a:extLst>
          </p:cNvPr>
          <p:cNvSpPr txBox="1"/>
          <p:nvPr/>
        </p:nvSpPr>
        <p:spPr>
          <a:xfrm>
            <a:off x="10064262" y="2918164"/>
            <a:ext cx="933848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EC96CF69-3F2C-4017-8C1F-A84CD4726C13}"/>
              </a:ext>
            </a:extLst>
          </p:cNvPr>
          <p:cNvGrpSpPr/>
          <p:nvPr/>
        </p:nvGrpSpPr>
        <p:grpSpPr>
          <a:xfrm>
            <a:off x="10186351" y="2165516"/>
            <a:ext cx="703263" cy="703263"/>
            <a:chOff x="9486900" y="4652963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112" name="Oval 13">
              <a:extLst>
                <a:ext uri="{FF2B5EF4-FFF2-40B4-BE49-F238E27FC236}">
                  <a16:creationId xmlns:a16="http://schemas.microsoft.com/office/drawing/2014/main" id="{DF517B53-095C-49D7-9D31-560BEE4483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6900" y="4652963"/>
              <a:ext cx="703263" cy="703263"/>
            </a:xfrm>
            <a:prstGeom prst="ellips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3" name="Line 23">
              <a:extLst>
                <a:ext uri="{FF2B5EF4-FFF2-40B4-BE49-F238E27FC236}">
                  <a16:creationId xmlns:a16="http://schemas.microsoft.com/office/drawing/2014/main" id="{C1BC55E8-A744-4FA3-9651-FF1AAD22AC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72625" y="4983163"/>
              <a:ext cx="61913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4" name="Line 24">
              <a:extLst>
                <a:ext uri="{FF2B5EF4-FFF2-40B4-BE49-F238E27FC236}">
                  <a16:creationId xmlns:a16="http://schemas.microsoft.com/office/drawing/2014/main" id="{FFCF103F-CE5F-4AB5-94B8-8A0894A256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48813" y="4956176"/>
              <a:ext cx="85725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5" name="Oval 25">
              <a:extLst>
                <a:ext uri="{FF2B5EF4-FFF2-40B4-BE49-F238E27FC236}">
                  <a16:creationId xmlns:a16="http://schemas.microsoft.com/office/drawing/2014/main" id="{CB7897C1-FB93-470A-9C4A-C8E4A29A10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8825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6" name="Oval 26">
              <a:extLst>
                <a:ext uri="{FF2B5EF4-FFF2-40B4-BE49-F238E27FC236}">
                  <a16:creationId xmlns:a16="http://schemas.microsoft.com/office/drawing/2014/main" id="{5B3F425D-B3E4-45EC-9B90-F8186F2EC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17088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7" name="Oval 27">
              <a:extLst>
                <a:ext uri="{FF2B5EF4-FFF2-40B4-BE49-F238E27FC236}">
                  <a16:creationId xmlns:a16="http://schemas.microsoft.com/office/drawing/2014/main" id="{95866323-3F1A-4776-BED6-78CEFBFAC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8525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Freeform 28">
              <a:extLst>
                <a:ext uri="{FF2B5EF4-FFF2-40B4-BE49-F238E27FC236}">
                  <a16:creationId xmlns:a16="http://schemas.microsoft.com/office/drawing/2014/main" id="{99B1CA53-D0A6-473E-A9CA-F623ADA79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6013" y="4918076"/>
              <a:ext cx="36513" cy="22225"/>
            </a:xfrm>
            <a:custGeom>
              <a:avLst/>
              <a:gdLst>
                <a:gd name="T0" fmla="*/ 0 w 23"/>
                <a:gd name="T1" fmla="*/ 14 h 14"/>
                <a:gd name="T2" fmla="*/ 0 w 23"/>
                <a:gd name="T3" fmla="*/ 0 h 14"/>
                <a:gd name="T4" fmla="*/ 23 w 23"/>
                <a:gd name="T5" fmla="*/ 14 h 14"/>
                <a:gd name="T6" fmla="*/ 0 w 23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4">
                  <a:moveTo>
                    <a:pt x="0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6"/>
                    <a:pt x="23" y="14"/>
                    <a:pt x="23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9" name="Freeform 29">
              <a:extLst>
                <a:ext uri="{FF2B5EF4-FFF2-40B4-BE49-F238E27FC236}">
                  <a16:creationId xmlns:a16="http://schemas.microsoft.com/office/drawing/2014/main" id="{474A486A-6BD0-4F49-AAF2-000C89B63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13" y="4918076"/>
              <a:ext cx="390525" cy="157163"/>
            </a:xfrm>
            <a:custGeom>
              <a:avLst/>
              <a:gdLst>
                <a:gd name="T0" fmla="*/ 149 w 246"/>
                <a:gd name="T1" fmla="*/ 99 h 99"/>
                <a:gd name="T2" fmla="*/ 245 w 246"/>
                <a:gd name="T3" fmla="*/ 99 h 99"/>
                <a:gd name="T4" fmla="*/ 246 w 246"/>
                <a:gd name="T5" fmla="*/ 0 h 99"/>
                <a:gd name="T6" fmla="*/ 0 w 246"/>
                <a:gd name="T7" fmla="*/ 0 h 99"/>
                <a:gd name="T8" fmla="*/ 0 w 246"/>
                <a:gd name="T9" fmla="*/ 99 h 99"/>
                <a:gd name="T10" fmla="*/ 32 w 246"/>
                <a:gd name="T1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6" h="99">
                  <a:moveTo>
                    <a:pt x="149" y="99"/>
                  </a:moveTo>
                  <a:lnTo>
                    <a:pt x="245" y="99"/>
                  </a:lnTo>
                  <a:lnTo>
                    <a:pt x="246" y="0"/>
                  </a:lnTo>
                  <a:lnTo>
                    <a:pt x="0" y="0"/>
                  </a:lnTo>
                  <a:lnTo>
                    <a:pt x="0" y="99"/>
                  </a:lnTo>
                  <a:lnTo>
                    <a:pt x="32" y="99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0" name="Line 30">
              <a:extLst>
                <a:ext uri="{FF2B5EF4-FFF2-40B4-BE49-F238E27FC236}">
                  <a16:creationId xmlns:a16="http://schemas.microsoft.com/office/drawing/2014/main" id="{F39F3DD2-7F0F-44E7-B21C-7449C877BB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6300" y="5075238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1" name="Line 31">
              <a:extLst>
                <a:ext uri="{FF2B5EF4-FFF2-40B4-BE49-F238E27FC236}">
                  <a16:creationId xmlns:a16="http://schemas.microsoft.com/office/drawing/2014/main" id="{B5962CD9-2F5E-4C85-B020-3A507EA55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696450" y="5075238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2" name="Freeform 32">
              <a:extLst>
                <a:ext uri="{FF2B5EF4-FFF2-40B4-BE49-F238E27FC236}">
                  <a16:creationId xmlns:a16="http://schemas.microsoft.com/office/drawing/2014/main" id="{A8EE69D5-DA90-46D0-9077-1922C6590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4956176"/>
              <a:ext cx="107950" cy="112713"/>
            </a:xfrm>
            <a:custGeom>
              <a:avLst/>
              <a:gdLst>
                <a:gd name="T0" fmla="*/ 48 w 68"/>
                <a:gd name="T1" fmla="*/ 71 h 71"/>
                <a:gd name="T2" fmla="*/ 68 w 68"/>
                <a:gd name="T3" fmla="*/ 71 h 71"/>
                <a:gd name="T4" fmla="*/ 68 w 68"/>
                <a:gd name="T5" fmla="*/ 42 h 71"/>
                <a:gd name="T6" fmla="*/ 68 w 68"/>
                <a:gd name="T7" fmla="*/ 34 h 71"/>
                <a:gd name="T8" fmla="*/ 53 w 68"/>
                <a:gd name="T9" fmla="*/ 0 h 71"/>
                <a:gd name="T10" fmla="*/ 0 w 68"/>
                <a:gd name="T11" fmla="*/ 0 h 71"/>
                <a:gd name="T12" fmla="*/ 0 w 68"/>
                <a:gd name="T13" fmla="*/ 71 h 71"/>
                <a:gd name="T14" fmla="*/ 18 w 68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71">
                  <a:moveTo>
                    <a:pt x="48" y="71"/>
                  </a:moveTo>
                  <a:lnTo>
                    <a:pt x="68" y="71"/>
                  </a:lnTo>
                  <a:lnTo>
                    <a:pt x="68" y="42"/>
                  </a:lnTo>
                  <a:lnTo>
                    <a:pt x="68" y="34"/>
                  </a:lnTo>
                  <a:lnTo>
                    <a:pt x="53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3" name="Oval 33">
              <a:extLst>
                <a:ext uri="{FF2B5EF4-FFF2-40B4-BE49-F238E27FC236}">
                  <a16:creationId xmlns:a16="http://schemas.microsoft.com/office/drawing/2014/main" id="{C613E30E-2978-467A-A0B6-5E12FC6A94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0" y="5054601"/>
              <a:ext cx="55563" cy="55563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A37EFA22-5802-4F76-A65F-43DD0F6DB11B}"/>
              </a:ext>
            </a:extLst>
          </p:cNvPr>
          <p:cNvCxnSpPr/>
          <p:nvPr/>
        </p:nvCxnSpPr>
        <p:spPr>
          <a:xfrm>
            <a:off x="1063225" y="2517147"/>
            <a:ext cx="2809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F1D4A764-A8E6-4C54-8D0E-9302112B2CC4}"/>
              </a:ext>
            </a:extLst>
          </p:cNvPr>
          <p:cNvCxnSpPr>
            <a:stCxn id="24" idx="6"/>
            <a:endCxn id="8" idx="2"/>
          </p:cNvCxnSpPr>
          <p:nvPr/>
        </p:nvCxnSpPr>
        <p:spPr>
          <a:xfrm>
            <a:off x="1063225" y="2517148"/>
            <a:ext cx="2809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D5084498-749A-4E1C-AE00-507728524286}"/>
              </a:ext>
            </a:extLst>
          </p:cNvPr>
          <p:cNvCxnSpPr>
            <a:stCxn id="8" idx="6"/>
            <a:endCxn id="43" idx="2"/>
          </p:cNvCxnSpPr>
          <p:nvPr/>
        </p:nvCxnSpPr>
        <p:spPr>
          <a:xfrm>
            <a:off x="2047476" y="2517148"/>
            <a:ext cx="3012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C2C40A5C-FE5E-49AF-A69F-1BD578EE7141}"/>
              </a:ext>
            </a:extLst>
          </p:cNvPr>
          <p:cNvCxnSpPr>
            <a:stCxn id="43" idx="6"/>
            <a:endCxn id="33" idx="2"/>
          </p:cNvCxnSpPr>
          <p:nvPr/>
        </p:nvCxnSpPr>
        <p:spPr>
          <a:xfrm>
            <a:off x="3051962" y="2517148"/>
            <a:ext cx="3446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965E900-0956-495A-A91C-E4941CC8B215}"/>
              </a:ext>
            </a:extLst>
          </p:cNvPr>
          <p:cNvCxnSpPr>
            <a:stCxn id="33" idx="6"/>
            <a:endCxn id="60" idx="2"/>
          </p:cNvCxnSpPr>
          <p:nvPr/>
        </p:nvCxnSpPr>
        <p:spPr>
          <a:xfrm>
            <a:off x="4099883" y="2517148"/>
            <a:ext cx="22843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442AED21-A663-49DC-83D7-A2CEC99CA911}"/>
              </a:ext>
            </a:extLst>
          </p:cNvPr>
          <p:cNvCxnSpPr>
            <a:stCxn id="60" idx="6"/>
            <a:endCxn id="64" idx="2"/>
          </p:cNvCxnSpPr>
          <p:nvPr/>
        </p:nvCxnSpPr>
        <p:spPr>
          <a:xfrm>
            <a:off x="5029989" y="2517148"/>
            <a:ext cx="3121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6E3336CF-BABE-4F3E-9408-BCC503C4521E}"/>
              </a:ext>
            </a:extLst>
          </p:cNvPr>
          <p:cNvCxnSpPr>
            <a:stCxn id="64" idx="6"/>
            <a:endCxn id="56" idx="2"/>
          </p:cNvCxnSpPr>
          <p:nvPr/>
        </p:nvCxnSpPr>
        <p:spPr>
          <a:xfrm>
            <a:off x="6045420" y="2517148"/>
            <a:ext cx="2368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00665DA0-E802-46D5-8503-AB6525844A93}"/>
              </a:ext>
            </a:extLst>
          </p:cNvPr>
          <p:cNvCxnSpPr>
            <a:stCxn id="56" idx="6"/>
            <a:endCxn id="74" idx="2"/>
          </p:cNvCxnSpPr>
          <p:nvPr/>
        </p:nvCxnSpPr>
        <p:spPr>
          <a:xfrm>
            <a:off x="6983962" y="2517148"/>
            <a:ext cx="2628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AF0160F0-1FEB-455A-BFBB-860BE1CB8F23}"/>
              </a:ext>
            </a:extLst>
          </p:cNvPr>
          <p:cNvCxnSpPr>
            <a:stCxn id="74" idx="6"/>
            <a:endCxn id="84" idx="2"/>
          </p:cNvCxnSpPr>
          <p:nvPr/>
        </p:nvCxnSpPr>
        <p:spPr>
          <a:xfrm>
            <a:off x="7950105" y="2517148"/>
            <a:ext cx="2726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65571AD1-5FCF-436B-B07A-B982E72F4E14}"/>
              </a:ext>
            </a:extLst>
          </p:cNvPr>
          <p:cNvCxnSpPr>
            <a:stCxn id="84" idx="6"/>
            <a:endCxn id="98" idx="2"/>
          </p:cNvCxnSpPr>
          <p:nvPr/>
        </p:nvCxnSpPr>
        <p:spPr>
          <a:xfrm>
            <a:off x="8925992" y="2517148"/>
            <a:ext cx="27625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9A6A9828-7910-47AE-A52C-40B49401E608}"/>
              </a:ext>
            </a:extLst>
          </p:cNvPr>
          <p:cNvCxnSpPr>
            <a:stCxn id="98" idx="6"/>
            <a:endCxn id="112" idx="2"/>
          </p:cNvCxnSpPr>
          <p:nvPr/>
        </p:nvCxnSpPr>
        <p:spPr>
          <a:xfrm>
            <a:off x="9905512" y="2517148"/>
            <a:ext cx="2808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74D5413F-E492-491F-917B-C51666F654AF}"/>
              </a:ext>
            </a:extLst>
          </p:cNvPr>
          <p:cNvCxnSpPr>
            <a:stCxn id="112" idx="6"/>
            <a:endCxn id="5" idx="2"/>
          </p:cNvCxnSpPr>
          <p:nvPr/>
        </p:nvCxnSpPr>
        <p:spPr>
          <a:xfrm>
            <a:off x="10889614" y="2517148"/>
            <a:ext cx="2064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78610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8" name="Group 227"/>
          <p:cNvGrpSpPr/>
          <p:nvPr/>
        </p:nvGrpSpPr>
        <p:grpSpPr>
          <a:xfrm>
            <a:off x="3719736" y="4005064"/>
            <a:ext cx="724675" cy="625986"/>
            <a:chOff x="6242663" y="1916832"/>
            <a:chExt cx="724675" cy="625986"/>
          </a:xfrm>
        </p:grpSpPr>
        <p:sp>
          <p:nvSpPr>
            <p:cNvPr id="229" name="Rectangle 228"/>
            <p:cNvSpPr/>
            <p:nvPr/>
          </p:nvSpPr>
          <p:spPr>
            <a:xfrm>
              <a:off x="6425838" y="1916832"/>
              <a:ext cx="541500" cy="625830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6606733" y="2392283"/>
              <a:ext cx="179711" cy="150535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Rectangle 230"/>
            <p:cNvSpPr/>
            <p:nvPr/>
          </p:nvSpPr>
          <p:spPr>
            <a:xfrm>
              <a:off x="6242663" y="2061380"/>
              <a:ext cx="183175" cy="481272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32" name="Group 231"/>
            <p:cNvGrpSpPr/>
            <p:nvPr/>
          </p:nvGrpSpPr>
          <p:grpSpPr>
            <a:xfrm>
              <a:off x="6496351" y="2016000"/>
              <a:ext cx="400475" cy="260872"/>
              <a:chOff x="6487613" y="2016000"/>
              <a:chExt cx="400475" cy="260872"/>
            </a:xfrm>
          </p:grpSpPr>
          <p:cxnSp>
            <p:nvCxnSpPr>
              <p:cNvPr id="233" name="Straight Connector 232"/>
              <p:cNvCxnSpPr/>
              <p:nvPr/>
            </p:nvCxnSpPr>
            <p:spPr>
              <a:xfrm>
                <a:off x="6487613" y="2276872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4" name="Straight Connector 233"/>
              <p:cNvCxnSpPr/>
              <p:nvPr/>
            </p:nvCxnSpPr>
            <p:spPr>
              <a:xfrm>
                <a:off x="6487613" y="2189914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5" name="Straight Connector 234"/>
              <p:cNvCxnSpPr/>
              <p:nvPr/>
            </p:nvCxnSpPr>
            <p:spPr>
              <a:xfrm>
                <a:off x="6487613" y="2102957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6" name="Straight Connector 235"/>
              <p:cNvCxnSpPr/>
              <p:nvPr/>
            </p:nvCxnSpPr>
            <p:spPr>
              <a:xfrm>
                <a:off x="6487613" y="2016000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5" name="Rectangle 4"/>
          <p:cNvSpPr/>
          <p:nvPr/>
        </p:nvSpPr>
        <p:spPr>
          <a:xfrm>
            <a:off x="1200818" y="5181819"/>
            <a:ext cx="979036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delays in data flowing </a:t>
            </a: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across </a:t>
            </a:r>
            <a:r>
              <a:rPr kumimoji="0" lang="nl-B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compani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causes </a:t>
            </a: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lack of overall visibility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B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which makes network-wide </a:t>
            </a:r>
            <a:r>
              <a:rPr kumimoji="0" lang="nl-BE" sz="2800" b="1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optimization</a:t>
            </a:r>
            <a:r>
              <a:rPr kumimoji="0" lang="nl-BE" sz="2800" b="0" i="0" u="none" strike="noStrike" kern="1200" cap="none" spc="0" normalizeH="0" baseline="0" noProof="0" dirty="0">
                <a:ln>
                  <a:noFill/>
                </a:ln>
                <a:solidFill>
                  <a:srgbClr val="368EE0">
                    <a:lumMod val="60000"/>
                    <a:lumOff val="40000"/>
                  </a:srgbClr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 </a:t>
            </a:r>
            <a:r>
              <a:rPr kumimoji="0" lang="nl-BE" sz="2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impossible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Open Sans" charset="0"/>
              <a:ea typeface="+mn-ea"/>
              <a:cs typeface="+mn-cs"/>
            </a:endParaRPr>
          </a:p>
        </p:txBody>
      </p:sp>
      <p:cxnSp>
        <p:nvCxnSpPr>
          <p:cNvPr id="86" name="Straight Connector 85"/>
          <p:cNvCxnSpPr>
            <a:stCxn id="168" idx="3"/>
            <a:endCxn id="154" idx="4"/>
          </p:cNvCxnSpPr>
          <p:nvPr/>
        </p:nvCxnSpPr>
        <p:spPr>
          <a:xfrm flipH="1">
            <a:off x="3534429" y="2364890"/>
            <a:ext cx="787464" cy="1056071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9" name="Straight Connector 128"/>
          <p:cNvCxnSpPr>
            <a:endCxn id="154" idx="4"/>
          </p:cNvCxnSpPr>
          <p:nvPr/>
        </p:nvCxnSpPr>
        <p:spPr>
          <a:xfrm flipH="1">
            <a:off x="3534429" y="2172780"/>
            <a:ext cx="4111085" cy="1248181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144" name="Group 143"/>
          <p:cNvGrpSpPr/>
          <p:nvPr/>
        </p:nvGrpSpPr>
        <p:grpSpPr>
          <a:xfrm>
            <a:off x="2551214" y="2797100"/>
            <a:ext cx="724675" cy="625986"/>
            <a:chOff x="6242663" y="1916832"/>
            <a:chExt cx="724675" cy="625986"/>
          </a:xfrm>
        </p:grpSpPr>
        <p:sp>
          <p:nvSpPr>
            <p:cNvPr id="145" name="Rectangle 144"/>
            <p:cNvSpPr/>
            <p:nvPr/>
          </p:nvSpPr>
          <p:spPr>
            <a:xfrm>
              <a:off x="6425838" y="1916832"/>
              <a:ext cx="541500" cy="625830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Rectangle 145"/>
            <p:cNvSpPr/>
            <p:nvPr/>
          </p:nvSpPr>
          <p:spPr>
            <a:xfrm>
              <a:off x="6606733" y="2392283"/>
              <a:ext cx="179711" cy="150535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Rectangle 146"/>
            <p:cNvSpPr/>
            <p:nvPr/>
          </p:nvSpPr>
          <p:spPr>
            <a:xfrm>
              <a:off x="6242663" y="2061380"/>
              <a:ext cx="183175" cy="481272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48" name="Group 147"/>
            <p:cNvGrpSpPr/>
            <p:nvPr/>
          </p:nvGrpSpPr>
          <p:grpSpPr>
            <a:xfrm>
              <a:off x="6496351" y="2016000"/>
              <a:ext cx="400475" cy="260872"/>
              <a:chOff x="6487613" y="2016000"/>
              <a:chExt cx="400475" cy="260872"/>
            </a:xfrm>
          </p:grpSpPr>
          <p:cxnSp>
            <p:nvCxnSpPr>
              <p:cNvPr id="149" name="Straight Connector 148"/>
              <p:cNvCxnSpPr/>
              <p:nvPr/>
            </p:nvCxnSpPr>
            <p:spPr>
              <a:xfrm>
                <a:off x="6487613" y="2276872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0" name="Straight Connector 149"/>
              <p:cNvCxnSpPr/>
              <p:nvPr/>
            </p:nvCxnSpPr>
            <p:spPr>
              <a:xfrm>
                <a:off x="6487613" y="2189914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1" name="Straight Connector 150"/>
              <p:cNvCxnSpPr/>
              <p:nvPr/>
            </p:nvCxnSpPr>
            <p:spPr>
              <a:xfrm>
                <a:off x="6487613" y="2102957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2" name="Straight Connector 151"/>
              <p:cNvCxnSpPr/>
              <p:nvPr/>
            </p:nvCxnSpPr>
            <p:spPr>
              <a:xfrm>
                <a:off x="6487613" y="2016000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53" name="Group 152"/>
          <p:cNvGrpSpPr/>
          <p:nvPr/>
        </p:nvGrpSpPr>
        <p:grpSpPr>
          <a:xfrm>
            <a:off x="3171151" y="3213387"/>
            <a:ext cx="363278" cy="415147"/>
            <a:chOff x="3216275" y="836612"/>
            <a:chExt cx="2592389" cy="3455987"/>
          </a:xfrm>
          <a:solidFill>
            <a:schemeClr val="bg1"/>
          </a:solidFill>
        </p:grpSpPr>
        <p:sp>
          <p:nvSpPr>
            <p:cNvPr id="154" name="Can 153"/>
            <p:cNvSpPr/>
            <p:nvPr/>
          </p:nvSpPr>
          <p:spPr>
            <a:xfrm>
              <a:off x="3216276" y="836612"/>
              <a:ext cx="2592388" cy="3455987"/>
            </a:xfrm>
            <a:prstGeom prst="can">
              <a:avLst>
                <a:gd name="adj" fmla="val 29149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Arc 154"/>
            <p:cNvSpPr/>
            <p:nvPr/>
          </p:nvSpPr>
          <p:spPr>
            <a:xfrm flipV="1">
              <a:off x="3216276" y="1700210"/>
              <a:ext cx="2592388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Arc 155"/>
            <p:cNvSpPr/>
            <p:nvPr/>
          </p:nvSpPr>
          <p:spPr>
            <a:xfrm flipV="1">
              <a:off x="3216275" y="2563807"/>
              <a:ext cx="2591593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8" name="Group 157"/>
          <p:cNvGrpSpPr/>
          <p:nvPr/>
        </p:nvGrpSpPr>
        <p:grpSpPr>
          <a:xfrm>
            <a:off x="3520317" y="1533456"/>
            <a:ext cx="724675" cy="625986"/>
            <a:chOff x="6242663" y="1916832"/>
            <a:chExt cx="724675" cy="625986"/>
          </a:xfrm>
        </p:grpSpPr>
        <p:sp>
          <p:nvSpPr>
            <p:cNvPr id="159" name="Rectangle 158"/>
            <p:cNvSpPr/>
            <p:nvPr/>
          </p:nvSpPr>
          <p:spPr>
            <a:xfrm>
              <a:off x="6425838" y="1916832"/>
              <a:ext cx="541500" cy="625830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Rectangle 159"/>
            <p:cNvSpPr/>
            <p:nvPr/>
          </p:nvSpPr>
          <p:spPr>
            <a:xfrm>
              <a:off x="6606733" y="2392283"/>
              <a:ext cx="179711" cy="150535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Rectangle 160"/>
            <p:cNvSpPr/>
            <p:nvPr/>
          </p:nvSpPr>
          <p:spPr>
            <a:xfrm>
              <a:off x="6242663" y="2061380"/>
              <a:ext cx="183175" cy="481272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62" name="Group 161"/>
            <p:cNvGrpSpPr/>
            <p:nvPr/>
          </p:nvGrpSpPr>
          <p:grpSpPr>
            <a:xfrm>
              <a:off x="6496351" y="2016000"/>
              <a:ext cx="400475" cy="260872"/>
              <a:chOff x="6487613" y="2016000"/>
              <a:chExt cx="400475" cy="260872"/>
            </a:xfrm>
          </p:grpSpPr>
          <p:cxnSp>
            <p:nvCxnSpPr>
              <p:cNvPr id="163" name="Straight Connector 162"/>
              <p:cNvCxnSpPr/>
              <p:nvPr/>
            </p:nvCxnSpPr>
            <p:spPr>
              <a:xfrm>
                <a:off x="6487613" y="2276872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4" name="Straight Connector 163"/>
              <p:cNvCxnSpPr/>
              <p:nvPr/>
            </p:nvCxnSpPr>
            <p:spPr>
              <a:xfrm>
                <a:off x="6487613" y="2189914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5" name="Straight Connector 164"/>
              <p:cNvCxnSpPr/>
              <p:nvPr/>
            </p:nvCxnSpPr>
            <p:spPr>
              <a:xfrm>
                <a:off x="6487613" y="2102957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6" name="Straight Connector 165"/>
              <p:cNvCxnSpPr/>
              <p:nvPr/>
            </p:nvCxnSpPr>
            <p:spPr>
              <a:xfrm>
                <a:off x="6487613" y="2016000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67" name="Group 166"/>
          <p:cNvGrpSpPr/>
          <p:nvPr/>
        </p:nvGrpSpPr>
        <p:grpSpPr>
          <a:xfrm>
            <a:off x="4140254" y="1949743"/>
            <a:ext cx="363278" cy="415147"/>
            <a:chOff x="3216275" y="836612"/>
            <a:chExt cx="2592389" cy="3455987"/>
          </a:xfrm>
          <a:solidFill>
            <a:schemeClr val="bg1"/>
          </a:solidFill>
        </p:grpSpPr>
        <p:sp>
          <p:nvSpPr>
            <p:cNvPr id="168" name="Can 167"/>
            <p:cNvSpPr/>
            <p:nvPr/>
          </p:nvSpPr>
          <p:spPr>
            <a:xfrm>
              <a:off x="3216276" y="836612"/>
              <a:ext cx="2592388" cy="3455987"/>
            </a:xfrm>
            <a:prstGeom prst="can">
              <a:avLst>
                <a:gd name="adj" fmla="val 29149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Arc 168"/>
            <p:cNvSpPr/>
            <p:nvPr/>
          </p:nvSpPr>
          <p:spPr>
            <a:xfrm flipV="1">
              <a:off x="3216276" y="1700210"/>
              <a:ext cx="2592388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Arc 169"/>
            <p:cNvSpPr/>
            <p:nvPr/>
          </p:nvSpPr>
          <p:spPr>
            <a:xfrm flipV="1">
              <a:off x="3216275" y="2563807"/>
              <a:ext cx="2591593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72" name="Group 171"/>
          <p:cNvGrpSpPr/>
          <p:nvPr/>
        </p:nvGrpSpPr>
        <p:grpSpPr>
          <a:xfrm>
            <a:off x="7852217" y="1518516"/>
            <a:ext cx="724675" cy="625986"/>
            <a:chOff x="6242663" y="1916832"/>
            <a:chExt cx="724675" cy="625986"/>
          </a:xfrm>
        </p:grpSpPr>
        <p:sp>
          <p:nvSpPr>
            <p:cNvPr id="173" name="Rectangle 172"/>
            <p:cNvSpPr/>
            <p:nvPr/>
          </p:nvSpPr>
          <p:spPr>
            <a:xfrm>
              <a:off x="6425838" y="1916832"/>
              <a:ext cx="541500" cy="625830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Rectangle 173"/>
            <p:cNvSpPr/>
            <p:nvPr/>
          </p:nvSpPr>
          <p:spPr>
            <a:xfrm>
              <a:off x="6606733" y="2392283"/>
              <a:ext cx="179711" cy="150535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Rectangle 174"/>
            <p:cNvSpPr/>
            <p:nvPr/>
          </p:nvSpPr>
          <p:spPr>
            <a:xfrm>
              <a:off x="6242663" y="2061380"/>
              <a:ext cx="183175" cy="481272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76" name="Group 175"/>
            <p:cNvGrpSpPr/>
            <p:nvPr/>
          </p:nvGrpSpPr>
          <p:grpSpPr>
            <a:xfrm>
              <a:off x="6496351" y="2016000"/>
              <a:ext cx="400475" cy="260872"/>
              <a:chOff x="6487613" y="2016000"/>
              <a:chExt cx="400475" cy="260872"/>
            </a:xfrm>
          </p:grpSpPr>
          <p:cxnSp>
            <p:nvCxnSpPr>
              <p:cNvPr id="177" name="Straight Connector 176"/>
              <p:cNvCxnSpPr/>
              <p:nvPr/>
            </p:nvCxnSpPr>
            <p:spPr>
              <a:xfrm>
                <a:off x="6487613" y="2276872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6487613" y="2189914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6487613" y="2102957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6487613" y="2016000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81" name="Group 180"/>
          <p:cNvGrpSpPr/>
          <p:nvPr/>
        </p:nvGrpSpPr>
        <p:grpSpPr>
          <a:xfrm>
            <a:off x="7592477" y="1934803"/>
            <a:ext cx="363278" cy="415147"/>
            <a:chOff x="3216275" y="836612"/>
            <a:chExt cx="2592389" cy="3455987"/>
          </a:xfrm>
          <a:solidFill>
            <a:schemeClr val="bg1"/>
          </a:solidFill>
        </p:grpSpPr>
        <p:sp>
          <p:nvSpPr>
            <p:cNvPr id="182" name="Can 181"/>
            <p:cNvSpPr/>
            <p:nvPr/>
          </p:nvSpPr>
          <p:spPr>
            <a:xfrm>
              <a:off x="3216276" y="836612"/>
              <a:ext cx="2592388" cy="3455987"/>
            </a:xfrm>
            <a:prstGeom prst="can">
              <a:avLst>
                <a:gd name="adj" fmla="val 29149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Arc 182"/>
            <p:cNvSpPr/>
            <p:nvPr/>
          </p:nvSpPr>
          <p:spPr>
            <a:xfrm flipV="1">
              <a:off x="3216276" y="1700210"/>
              <a:ext cx="2592388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Arc 183"/>
            <p:cNvSpPr/>
            <p:nvPr/>
          </p:nvSpPr>
          <p:spPr>
            <a:xfrm flipV="1">
              <a:off x="3216275" y="2563807"/>
              <a:ext cx="2591593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85" name="Group 184"/>
          <p:cNvGrpSpPr/>
          <p:nvPr/>
        </p:nvGrpSpPr>
        <p:grpSpPr>
          <a:xfrm>
            <a:off x="8796564" y="2798966"/>
            <a:ext cx="724675" cy="625986"/>
            <a:chOff x="6242663" y="1916832"/>
            <a:chExt cx="724675" cy="625986"/>
          </a:xfrm>
        </p:grpSpPr>
        <p:sp>
          <p:nvSpPr>
            <p:cNvPr id="186" name="Rectangle 185"/>
            <p:cNvSpPr/>
            <p:nvPr/>
          </p:nvSpPr>
          <p:spPr>
            <a:xfrm>
              <a:off x="6425838" y="1916832"/>
              <a:ext cx="541500" cy="625830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Rectangle 186"/>
            <p:cNvSpPr/>
            <p:nvPr/>
          </p:nvSpPr>
          <p:spPr>
            <a:xfrm>
              <a:off x="6606733" y="2392283"/>
              <a:ext cx="179711" cy="150535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Rectangle 187"/>
            <p:cNvSpPr/>
            <p:nvPr/>
          </p:nvSpPr>
          <p:spPr>
            <a:xfrm>
              <a:off x="6242663" y="2061380"/>
              <a:ext cx="183175" cy="481272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89" name="Group 188"/>
            <p:cNvGrpSpPr/>
            <p:nvPr/>
          </p:nvGrpSpPr>
          <p:grpSpPr>
            <a:xfrm>
              <a:off x="6496351" y="2016000"/>
              <a:ext cx="400475" cy="260872"/>
              <a:chOff x="6487613" y="2016000"/>
              <a:chExt cx="400475" cy="260872"/>
            </a:xfrm>
          </p:grpSpPr>
          <p:cxnSp>
            <p:nvCxnSpPr>
              <p:cNvPr id="190" name="Straight Connector 189"/>
              <p:cNvCxnSpPr/>
              <p:nvPr/>
            </p:nvCxnSpPr>
            <p:spPr>
              <a:xfrm>
                <a:off x="6487613" y="2276872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1" name="Straight Connector 190"/>
              <p:cNvCxnSpPr/>
              <p:nvPr/>
            </p:nvCxnSpPr>
            <p:spPr>
              <a:xfrm>
                <a:off x="6487613" y="2189914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2" name="Straight Connector 191"/>
              <p:cNvCxnSpPr/>
              <p:nvPr/>
            </p:nvCxnSpPr>
            <p:spPr>
              <a:xfrm>
                <a:off x="6487613" y="2102957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3" name="Straight Connector 192"/>
              <p:cNvCxnSpPr/>
              <p:nvPr/>
            </p:nvCxnSpPr>
            <p:spPr>
              <a:xfrm>
                <a:off x="6487613" y="2016000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94" name="Group 193"/>
          <p:cNvGrpSpPr/>
          <p:nvPr/>
        </p:nvGrpSpPr>
        <p:grpSpPr>
          <a:xfrm>
            <a:off x="8536824" y="3215253"/>
            <a:ext cx="363278" cy="415147"/>
            <a:chOff x="3216275" y="836612"/>
            <a:chExt cx="2592389" cy="3455987"/>
          </a:xfrm>
          <a:solidFill>
            <a:schemeClr val="bg1"/>
          </a:solidFill>
        </p:grpSpPr>
        <p:sp>
          <p:nvSpPr>
            <p:cNvPr id="195" name="Can 194"/>
            <p:cNvSpPr/>
            <p:nvPr/>
          </p:nvSpPr>
          <p:spPr>
            <a:xfrm>
              <a:off x="3216276" y="836612"/>
              <a:ext cx="2592388" cy="3455987"/>
            </a:xfrm>
            <a:prstGeom prst="can">
              <a:avLst>
                <a:gd name="adj" fmla="val 29149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Arc 195"/>
            <p:cNvSpPr/>
            <p:nvPr/>
          </p:nvSpPr>
          <p:spPr>
            <a:xfrm flipV="1">
              <a:off x="3216276" y="1700210"/>
              <a:ext cx="2592388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Arc 196"/>
            <p:cNvSpPr/>
            <p:nvPr/>
          </p:nvSpPr>
          <p:spPr>
            <a:xfrm flipV="1">
              <a:off x="3216275" y="2563807"/>
              <a:ext cx="2591593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198" name="Straight Connector 197"/>
          <p:cNvCxnSpPr>
            <a:stCxn id="224" idx="4"/>
            <a:endCxn id="238" idx="2"/>
          </p:cNvCxnSpPr>
          <p:nvPr/>
        </p:nvCxnSpPr>
        <p:spPr>
          <a:xfrm flipV="1">
            <a:off x="4696563" y="4051604"/>
            <a:ext cx="2785005" cy="2496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00" name="Group 199"/>
          <p:cNvGrpSpPr/>
          <p:nvPr/>
        </p:nvGrpSpPr>
        <p:grpSpPr>
          <a:xfrm>
            <a:off x="5879976" y="895296"/>
            <a:ext cx="724675" cy="625986"/>
            <a:chOff x="6242663" y="1916832"/>
            <a:chExt cx="724675" cy="625986"/>
          </a:xfrm>
        </p:grpSpPr>
        <p:sp>
          <p:nvSpPr>
            <p:cNvPr id="201" name="Rectangle 200"/>
            <p:cNvSpPr/>
            <p:nvPr/>
          </p:nvSpPr>
          <p:spPr>
            <a:xfrm>
              <a:off x="6425838" y="1916832"/>
              <a:ext cx="541500" cy="625830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6606733" y="2392283"/>
              <a:ext cx="179711" cy="150535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6242663" y="2061380"/>
              <a:ext cx="183175" cy="481272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04" name="Group 203"/>
            <p:cNvGrpSpPr/>
            <p:nvPr/>
          </p:nvGrpSpPr>
          <p:grpSpPr>
            <a:xfrm>
              <a:off x="6496351" y="2016000"/>
              <a:ext cx="400475" cy="260872"/>
              <a:chOff x="6487613" y="2016000"/>
              <a:chExt cx="400475" cy="260872"/>
            </a:xfrm>
          </p:grpSpPr>
          <p:cxnSp>
            <p:nvCxnSpPr>
              <p:cNvPr id="205" name="Straight Connector 204"/>
              <p:cNvCxnSpPr/>
              <p:nvPr/>
            </p:nvCxnSpPr>
            <p:spPr>
              <a:xfrm>
                <a:off x="6487613" y="2276872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6" name="Straight Connector 205"/>
              <p:cNvCxnSpPr/>
              <p:nvPr/>
            </p:nvCxnSpPr>
            <p:spPr>
              <a:xfrm>
                <a:off x="6487613" y="2189914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7" name="Straight Connector 206"/>
              <p:cNvCxnSpPr/>
              <p:nvPr/>
            </p:nvCxnSpPr>
            <p:spPr>
              <a:xfrm>
                <a:off x="6487613" y="2102957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8" name="Straight Connector 207"/>
              <p:cNvCxnSpPr/>
              <p:nvPr/>
            </p:nvCxnSpPr>
            <p:spPr>
              <a:xfrm>
                <a:off x="6487613" y="2016000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09" name="Group 208"/>
          <p:cNvGrpSpPr/>
          <p:nvPr/>
        </p:nvGrpSpPr>
        <p:grpSpPr>
          <a:xfrm>
            <a:off x="5593739" y="1340768"/>
            <a:ext cx="363278" cy="415147"/>
            <a:chOff x="3216275" y="836612"/>
            <a:chExt cx="2592389" cy="3455987"/>
          </a:xfrm>
          <a:solidFill>
            <a:schemeClr val="bg1"/>
          </a:solidFill>
        </p:grpSpPr>
        <p:sp>
          <p:nvSpPr>
            <p:cNvPr id="210" name="Can 209"/>
            <p:cNvSpPr/>
            <p:nvPr/>
          </p:nvSpPr>
          <p:spPr>
            <a:xfrm>
              <a:off x="3216276" y="836612"/>
              <a:ext cx="2592388" cy="3455987"/>
            </a:xfrm>
            <a:prstGeom prst="can">
              <a:avLst>
                <a:gd name="adj" fmla="val 29149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Arc 210"/>
            <p:cNvSpPr/>
            <p:nvPr/>
          </p:nvSpPr>
          <p:spPr>
            <a:xfrm flipV="1">
              <a:off x="3216276" y="1700210"/>
              <a:ext cx="2592388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Arc 211"/>
            <p:cNvSpPr/>
            <p:nvPr/>
          </p:nvSpPr>
          <p:spPr>
            <a:xfrm flipV="1">
              <a:off x="3216275" y="2563807"/>
              <a:ext cx="2591593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13" name="Straight Connector 212"/>
          <p:cNvCxnSpPr>
            <a:endCxn id="182" idx="2"/>
          </p:cNvCxnSpPr>
          <p:nvPr/>
        </p:nvCxnSpPr>
        <p:spPr>
          <a:xfrm>
            <a:off x="5814099" y="1757111"/>
            <a:ext cx="1778378" cy="385266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14" name="Group 213"/>
          <p:cNvGrpSpPr/>
          <p:nvPr/>
        </p:nvGrpSpPr>
        <p:grpSpPr>
          <a:xfrm>
            <a:off x="7743567" y="4004986"/>
            <a:ext cx="724675" cy="625986"/>
            <a:chOff x="6242663" y="1916832"/>
            <a:chExt cx="724675" cy="625986"/>
          </a:xfrm>
        </p:grpSpPr>
        <p:sp>
          <p:nvSpPr>
            <p:cNvPr id="215" name="Rectangle 214"/>
            <p:cNvSpPr/>
            <p:nvPr/>
          </p:nvSpPr>
          <p:spPr>
            <a:xfrm>
              <a:off x="6425838" y="1916832"/>
              <a:ext cx="541500" cy="625830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Rectangle 215"/>
            <p:cNvSpPr/>
            <p:nvPr/>
          </p:nvSpPr>
          <p:spPr>
            <a:xfrm>
              <a:off x="6606733" y="2392283"/>
              <a:ext cx="179711" cy="150535"/>
            </a:xfrm>
            <a:prstGeom prst="rect">
              <a:avLst/>
            </a:prstGeom>
            <a:solidFill>
              <a:schemeClr val="bg1"/>
            </a:soli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6242663" y="2061380"/>
              <a:ext cx="183175" cy="481272"/>
            </a:xfrm>
            <a:prstGeom prst="rect">
              <a:avLst/>
            </a:prstGeom>
            <a:gradFill>
              <a:gsLst>
                <a:gs pos="0">
                  <a:schemeClr val="bg1">
                    <a:lumMod val="100000"/>
                  </a:schemeClr>
                </a:gs>
                <a:gs pos="100000">
                  <a:srgbClr val="1988E0">
                    <a:lumMod val="52000"/>
                    <a:lumOff val="48000"/>
                  </a:srgbClr>
                </a:gs>
              </a:gsLst>
              <a:lin ang="5400000" scaled="0"/>
            </a:gradFill>
            <a:ln w="34925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218" name="Group 217"/>
            <p:cNvGrpSpPr/>
            <p:nvPr/>
          </p:nvGrpSpPr>
          <p:grpSpPr>
            <a:xfrm>
              <a:off x="6496351" y="2016000"/>
              <a:ext cx="400475" cy="260872"/>
              <a:chOff x="6487613" y="2016000"/>
              <a:chExt cx="400475" cy="260872"/>
            </a:xfrm>
          </p:grpSpPr>
          <p:cxnSp>
            <p:nvCxnSpPr>
              <p:cNvPr id="219" name="Straight Connector 218"/>
              <p:cNvCxnSpPr/>
              <p:nvPr/>
            </p:nvCxnSpPr>
            <p:spPr>
              <a:xfrm>
                <a:off x="6487613" y="2276872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0" name="Straight Connector 219"/>
              <p:cNvCxnSpPr/>
              <p:nvPr/>
            </p:nvCxnSpPr>
            <p:spPr>
              <a:xfrm>
                <a:off x="6487613" y="2189914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1" name="Straight Connector 220"/>
              <p:cNvCxnSpPr/>
              <p:nvPr/>
            </p:nvCxnSpPr>
            <p:spPr>
              <a:xfrm>
                <a:off x="6487613" y="2102957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2" name="Straight Connector 221"/>
              <p:cNvCxnSpPr/>
              <p:nvPr/>
            </p:nvCxnSpPr>
            <p:spPr>
              <a:xfrm>
                <a:off x="6487613" y="2016000"/>
                <a:ext cx="400475" cy="0"/>
              </a:xfrm>
              <a:prstGeom prst="line">
                <a:avLst/>
              </a:prstGeom>
              <a:ln w="28575">
                <a:solidFill>
                  <a:srgbClr val="34637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23" name="Group 222"/>
          <p:cNvGrpSpPr/>
          <p:nvPr/>
        </p:nvGrpSpPr>
        <p:grpSpPr>
          <a:xfrm>
            <a:off x="4333285" y="3846526"/>
            <a:ext cx="363278" cy="415147"/>
            <a:chOff x="3216275" y="836612"/>
            <a:chExt cx="2592389" cy="3455987"/>
          </a:xfrm>
          <a:solidFill>
            <a:schemeClr val="bg1"/>
          </a:solidFill>
        </p:grpSpPr>
        <p:sp>
          <p:nvSpPr>
            <p:cNvPr id="224" name="Can 223"/>
            <p:cNvSpPr/>
            <p:nvPr/>
          </p:nvSpPr>
          <p:spPr>
            <a:xfrm>
              <a:off x="3216276" y="836612"/>
              <a:ext cx="2592388" cy="3455987"/>
            </a:xfrm>
            <a:prstGeom prst="can">
              <a:avLst>
                <a:gd name="adj" fmla="val 29149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Arc 224"/>
            <p:cNvSpPr/>
            <p:nvPr/>
          </p:nvSpPr>
          <p:spPr>
            <a:xfrm flipV="1">
              <a:off x="3216276" y="1700210"/>
              <a:ext cx="2592388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Arc 225"/>
            <p:cNvSpPr/>
            <p:nvPr/>
          </p:nvSpPr>
          <p:spPr>
            <a:xfrm flipV="1">
              <a:off x="3216275" y="2563807"/>
              <a:ext cx="2591593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27" name="Straight Connector 226"/>
          <p:cNvCxnSpPr>
            <a:stCxn id="184" idx="0"/>
            <a:endCxn id="224" idx="4"/>
          </p:cNvCxnSpPr>
          <p:nvPr/>
        </p:nvCxnSpPr>
        <p:spPr>
          <a:xfrm flipH="1">
            <a:off x="4696563" y="2191709"/>
            <a:ext cx="2896131" cy="1862391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237" name="Group 236"/>
          <p:cNvGrpSpPr/>
          <p:nvPr/>
        </p:nvGrpSpPr>
        <p:grpSpPr>
          <a:xfrm>
            <a:off x="7481568" y="3844030"/>
            <a:ext cx="363278" cy="415147"/>
            <a:chOff x="3216275" y="836612"/>
            <a:chExt cx="2592389" cy="3455987"/>
          </a:xfrm>
          <a:solidFill>
            <a:schemeClr val="bg1"/>
          </a:solidFill>
        </p:grpSpPr>
        <p:sp>
          <p:nvSpPr>
            <p:cNvPr id="238" name="Can 237"/>
            <p:cNvSpPr/>
            <p:nvPr/>
          </p:nvSpPr>
          <p:spPr>
            <a:xfrm>
              <a:off x="3216276" y="836612"/>
              <a:ext cx="2592388" cy="3455987"/>
            </a:xfrm>
            <a:prstGeom prst="can">
              <a:avLst>
                <a:gd name="adj" fmla="val 29149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Arc 238"/>
            <p:cNvSpPr/>
            <p:nvPr/>
          </p:nvSpPr>
          <p:spPr>
            <a:xfrm flipV="1">
              <a:off x="3216276" y="1700210"/>
              <a:ext cx="2592388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Arc 239"/>
            <p:cNvSpPr/>
            <p:nvPr/>
          </p:nvSpPr>
          <p:spPr>
            <a:xfrm flipV="1">
              <a:off x="3216275" y="2563807"/>
              <a:ext cx="2591593" cy="865189"/>
            </a:xfrm>
            <a:prstGeom prst="arc">
              <a:avLst>
                <a:gd name="adj1" fmla="val 10751917"/>
                <a:gd name="adj2" fmla="val 21547783"/>
              </a:avLst>
            </a:prstGeom>
            <a:grpFill/>
            <a:ln w="38100">
              <a:solidFill>
                <a:srgbClr val="34637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242" name="Straight Connector 241"/>
          <p:cNvCxnSpPr>
            <a:stCxn id="168" idx="4"/>
            <a:endCxn id="210" idx="3"/>
          </p:cNvCxnSpPr>
          <p:nvPr/>
        </p:nvCxnSpPr>
        <p:spPr>
          <a:xfrm flipV="1">
            <a:off x="4503532" y="1755915"/>
            <a:ext cx="1271846" cy="401402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4" name="Straight Connector 243"/>
          <p:cNvCxnSpPr>
            <a:stCxn id="168" idx="3"/>
            <a:endCxn id="225" idx="2"/>
          </p:cNvCxnSpPr>
          <p:nvPr/>
        </p:nvCxnSpPr>
        <p:spPr>
          <a:xfrm>
            <a:off x="4321893" y="2364890"/>
            <a:ext cx="374414" cy="1640095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5" name="Straight Connector 244"/>
          <p:cNvCxnSpPr>
            <a:stCxn id="154" idx="4"/>
            <a:endCxn id="225" idx="2"/>
          </p:cNvCxnSpPr>
          <p:nvPr/>
        </p:nvCxnSpPr>
        <p:spPr>
          <a:xfrm>
            <a:off x="3534429" y="3420961"/>
            <a:ext cx="1161878" cy="584024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47" name="Straight Connector 246"/>
          <p:cNvCxnSpPr>
            <a:stCxn id="238" idx="2"/>
            <a:endCxn id="195" idx="2"/>
          </p:cNvCxnSpPr>
          <p:nvPr/>
        </p:nvCxnSpPr>
        <p:spPr>
          <a:xfrm flipV="1">
            <a:off x="7481568" y="3422827"/>
            <a:ext cx="1055256" cy="628777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50" name="Straight Connector 249"/>
          <p:cNvCxnSpPr>
            <a:stCxn id="184" idx="0"/>
            <a:endCxn id="196" idx="0"/>
          </p:cNvCxnSpPr>
          <p:nvPr/>
        </p:nvCxnSpPr>
        <p:spPr>
          <a:xfrm>
            <a:off x="7592694" y="2191709"/>
            <a:ext cx="944347" cy="1176710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8" name="Straight Connector 117"/>
          <p:cNvCxnSpPr>
            <a:stCxn id="210" idx="3"/>
            <a:endCxn id="238" idx="2"/>
          </p:cNvCxnSpPr>
          <p:nvPr/>
        </p:nvCxnSpPr>
        <p:spPr>
          <a:xfrm>
            <a:off x="5775378" y="1755915"/>
            <a:ext cx="1706190" cy="2295689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21" name="Straight Connector 120"/>
          <p:cNvCxnSpPr>
            <a:stCxn id="196" idx="0"/>
            <a:endCxn id="168" idx="3"/>
          </p:cNvCxnSpPr>
          <p:nvPr/>
        </p:nvCxnSpPr>
        <p:spPr>
          <a:xfrm flipH="1" flipV="1">
            <a:off x="4321893" y="2364890"/>
            <a:ext cx="4215148" cy="1003529"/>
          </a:xfrm>
          <a:prstGeom prst="line">
            <a:avLst/>
          </a:prstGeom>
          <a:grpFill/>
          <a:ln w="34925">
            <a:solidFill>
              <a:schemeClr val="accent1">
                <a:lumMod val="40000"/>
                <a:lumOff val="60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19" name="Rectangle 118"/>
          <p:cNvSpPr/>
          <p:nvPr/>
        </p:nvSpPr>
        <p:spPr>
          <a:xfrm>
            <a:off x="4733760" y="4128177"/>
            <a:ext cx="10150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+24 HO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4272762" y="1626765"/>
            <a:ext cx="92685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+8 HO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6029516" y="1533702"/>
            <a:ext cx="10150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+32 HO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3" name="Rectangle 122"/>
          <p:cNvSpPr/>
          <p:nvPr/>
        </p:nvSpPr>
        <p:spPr>
          <a:xfrm>
            <a:off x="7943804" y="2197003"/>
            <a:ext cx="10150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+34 HO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4" name="Rectangle 123"/>
          <p:cNvSpPr/>
          <p:nvPr/>
        </p:nvSpPr>
        <p:spPr>
          <a:xfrm>
            <a:off x="8501713" y="4390170"/>
            <a:ext cx="10150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+64 HO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1" name="Rectangle 130"/>
          <p:cNvSpPr/>
          <p:nvPr/>
        </p:nvSpPr>
        <p:spPr>
          <a:xfrm>
            <a:off x="8920623" y="3460608"/>
            <a:ext cx="101502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charset="0"/>
                <a:ea typeface="+mn-ea"/>
                <a:cs typeface="+mn-cs"/>
              </a:rPr>
              <a:t>+72 HOURS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2" name="Rectangle 131"/>
          <p:cNvSpPr/>
          <p:nvPr/>
        </p:nvSpPr>
        <p:spPr>
          <a:xfrm>
            <a:off x="5609101" y="4004985"/>
            <a:ext cx="274188" cy="340643"/>
          </a:xfrm>
          <a:prstGeom prst="rect">
            <a:avLst/>
          </a:prstGeom>
          <a:solidFill>
            <a:srgbClr val="FF0000">
              <a:alpha val="51000"/>
            </a:srgbClr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4" name="Rectangle 133"/>
          <p:cNvSpPr/>
          <p:nvPr/>
        </p:nvSpPr>
        <p:spPr>
          <a:xfrm>
            <a:off x="5146208" y="1663064"/>
            <a:ext cx="274188" cy="180934"/>
          </a:xfrm>
          <a:prstGeom prst="rect">
            <a:avLst/>
          </a:prstGeom>
          <a:solidFill>
            <a:srgbClr val="FF0000">
              <a:alpha val="51000"/>
            </a:srgbClr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6" name="Rectangle 135"/>
          <p:cNvSpPr/>
          <p:nvPr/>
        </p:nvSpPr>
        <p:spPr>
          <a:xfrm>
            <a:off x="6985766" y="1326129"/>
            <a:ext cx="274188" cy="413371"/>
          </a:xfrm>
          <a:prstGeom prst="rect">
            <a:avLst/>
          </a:prstGeom>
          <a:solidFill>
            <a:srgbClr val="FF0000">
              <a:alpha val="51000"/>
            </a:srgbClr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7" name="Rectangle 136"/>
          <p:cNvSpPr/>
          <p:nvPr/>
        </p:nvSpPr>
        <p:spPr>
          <a:xfrm>
            <a:off x="8842645" y="1959264"/>
            <a:ext cx="274188" cy="475477"/>
          </a:xfrm>
          <a:prstGeom prst="rect">
            <a:avLst/>
          </a:prstGeom>
          <a:solidFill>
            <a:srgbClr val="FF0000">
              <a:alpha val="51000"/>
            </a:srgbClr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8" name="Rectangle 137"/>
          <p:cNvSpPr/>
          <p:nvPr/>
        </p:nvSpPr>
        <p:spPr>
          <a:xfrm>
            <a:off x="9878187" y="2636913"/>
            <a:ext cx="274188" cy="1043524"/>
          </a:xfrm>
          <a:prstGeom prst="rect">
            <a:avLst/>
          </a:prstGeom>
          <a:solidFill>
            <a:srgbClr val="FF0000">
              <a:alpha val="51000"/>
            </a:srgbClr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9" name="Rectangle 138"/>
          <p:cNvSpPr/>
          <p:nvPr/>
        </p:nvSpPr>
        <p:spPr>
          <a:xfrm>
            <a:off x="9476715" y="3916632"/>
            <a:ext cx="274188" cy="700080"/>
          </a:xfrm>
          <a:prstGeom prst="rect">
            <a:avLst/>
          </a:prstGeom>
          <a:solidFill>
            <a:srgbClr val="FF0000">
              <a:alpha val="51000"/>
            </a:srgbClr>
          </a:solidFill>
          <a:ln w="349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67814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7B642B-EA63-4491-A945-3D97C3EE7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8968" y="250118"/>
            <a:ext cx="11438750" cy="940213"/>
          </a:xfrm>
        </p:spPr>
        <p:txBody>
          <a:bodyPr/>
          <a:lstStyle/>
          <a:p>
            <a:pPr algn="l"/>
            <a:r>
              <a:rPr lang="nl-NL" dirty="0"/>
              <a:t>Integrators manage the </a:t>
            </a:r>
            <a:r>
              <a:rPr lang="nl-NL" dirty="0" err="1"/>
              <a:t>logistics</a:t>
            </a:r>
            <a:r>
              <a:rPr lang="nl-NL" dirty="0"/>
              <a:t> chain </a:t>
            </a:r>
            <a:r>
              <a:rPr lang="nl-NL" dirty="0">
                <a:sym typeface="Wingdings" panose="05000000000000000000" pitchFamily="2" charset="2"/>
              </a:rPr>
              <a:t> </a:t>
            </a:r>
            <a:r>
              <a:rPr lang="nl-NL" dirty="0" err="1">
                <a:sym typeface="Wingdings" panose="05000000000000000000" pitchFamily="2" charset="2"/>
              </a:rPr>
              <a:t>how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can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the</a:t>
            </a:r>
            <a:r>
              <a:rPr lang="nl-NL" dirty="0">
                <a:sym typeface="Wingdings" panose="05000000000000000000" pitchFamily="2" charset="2"/>
              </a:rPr>
              <a:t> traditional cargo </a:t>
            </a:r>
            <a:r>
              <a:rPr lang="nl-NL" dirty="0" err="1">
                <a:sym typeface="Wingdings" panose="05000000000000000000" pitchFamily="2" charset="2"/>
              </a:rPr>
              <a:t>industry</a:t>
            </a:r>
            <a:r>
              <a:rPr lang="nl-NL" dirty="0">
                <a:sym typeface="Wingdings" panose="05000000000000000000" pitchFamily="2" charset="2"/>
              </a:rPr>
              <a:t> </a:t>
            </a:r>
            <a:r>
              <a:rPr lang="nl-NL" dirty="0" err="1">
                <a:sym typeface="Wingdings" panose="05000000000000000000" pitchFamily="2" charset="2"/>
              </a:rPr>
              <a:t>learn</a:t>
            </a:r>
            <a:r>
              <a:rPr lang="nl-NL" dirty="0">
                <a:sym typeface="Wingdings" panose="05000000000000000000" pitchFamily="2" charset="2"/>
              </a:rPr>
              <a:t> from </a:t>
            </a:r>
            <a:r>
              <a:rPr lang="nl-NL" dirty="0" err="1">
                <a:sym typeface="Wingdings" panose="05000000000000000000" pitchFamily="2" charset="2"/>
              </a:rPr>
              <a:t>this</a:t>
            </a:r>
            <a:r>
              <a:rPr lang="nl-NL" dirty="0">
                <a:sym typeface="Wingdings" panose="05000000000000000000" pitchFamily="2" charset="2"/>
              </a:rPr>
              <a:t>?</a:t>
            </a:r>
            <a:endParaRPr lang="nl-B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FB3B10-5063-41E6-BF53-DAEAAF1CE3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0698" y="3933018"/>
            <a:ext cx="11438750" cy="2142476"/>
          </a:xfrm>
        </p:spPr>
        <p:txBody>
          <a:bodyPr>
            <a:normAutofit lnSpcReduction="10000"/>
          </a:bodyPr>
          <a:lstStyle/>
          <a:p>
            <a:pPr lvl="0"/>
            <a:r>
              <a:rPr lang="en-US" b="1" dirty="0">
                <a:solidFill>
                  <a:srgbClr val="368EE0"/>
                </a:solidFill>
              </a:rPr>
              <a:t>Growing</a:t>
            </a:r>
            <a:r>
              <a:rPr lang="en-US" dirty="0"/>
              <a:t> the air cargo industry and their market share</a:t>
            </a:r>
          </a:p>
          <a:p>
            <a:pPr lvl="0"/>
            <a:endParaRPr lang="en-BE" dirty="0"/>
          </a:p>
          <a:p>
            <a:pPr lvl="0"/>
            <a:r>
              <a:rPr lang="en-US" b="1" dirty="0">
                <a:solidFill>
                  <a:srgbClr val="368EE0"/>
                </a:solidFill>
              </a:rPr>
              <a:t>More expensive</a:t>
            </a:r>
            <a:r>
              <a:rPr lang="en-US" dirty="0"/>
              <a:t> – but more efficient and transparent</a:t>
            </a:r>
          </a:p>
          <a:p>
            <a:pPr lvl="0"/>
            <a:endParaRPr lang="en-BE" dirty="0"/>
          </a:p>
          <a:p>
            <a:pPr lvl="0"/>
            <a:r>
              <a:rPr lang="en-US" b="1" dirty="0">
                <a:solidFill>
                  <a:srgbClr val="368EE0"/>
                </a:solidFill>
              </a:rPr>
              <a:t>Higher profitability</a:t>
            </a:r>
            <a:r>
              <a:rPr lang="en-US" dirty="0"/>
              <a:t>, higher investments, innovation</a:t>
            </a:r>
          </a:p>
          <a:p>
            <a:endParaRPr lang="nl-BE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B192CFD5-56E5-4AA4-B063-78140E3FAEEF}"/>
              </a:ext>
            </a:extLst>
          </p:cNvPr>
          <p:cNvGrpSpPr/>
          <p:nvPr/>
        </p:nvGrpSpPr>
        <p:grpSpPr>
          <a:xfrm>
            <a:off x="11096043" y="2165516"/>
            <a:ext cx="701675" cy="703263"/>
            <a:chOff x="10679113" y="4646613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5" name="Oval 20">
              <a:extLst>
                <a:ext uri="{FF2B5EF4-FFF2-40B4-BE49-F238E27FC236}">
                  <a16:creationId xmlns:a16="http://schemas.microsoft.com/office/drawing/2014/main" id="{52635B49-8641-4E7C-B6E3-DA8FF464A5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9113" y="4646613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" name="Freeform 76">
              <a:extLst>
                <a:ext uri="{FF2B5EF4-FFF2-40B4-BE49-F238E27FC236}">
                  <a16:creationId xmlns:a16="http://schemas.microsoft.com/office/drawing/2014/main" id="{54B4BBDA-1CC0-43EB-94E1-88FB9019A9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58500" y="4824413"/>
              <a:ext cx="344488" cy="344488"/>
            </a:xfrm>
            <a:custGeom>
              <a:avLst/>
              <a:gdLst>
                <a:gd name="T0" fmla="*/ 209 w 216"/>
                <a:gd name="T1" fmla="*/ 184 h 216"/>
                <a:gd name="T2" fmla="*/ 144 w 216"/>
                <a:gd name="T3" fmla="*/ 162 h 216"/>
                <a:gd name="T4" fmla="*/ 145 w 216"/>
                <a:gd name="T5" fmla="*/ 131 h 216"/>
                <a:gd name="T6" fmla="*/ 159 w 216"/>
                <a:gd name="T7" fmla="*/ 100 h 216"/>
                <a:gd name="T8" fmla="*/ 165 w 216"/>
                <a:gd name="T9" fmla="*/ 68 h 216"/>
                <a:gd name="T10" fmla="*/ 157 w 216"/>
                <a:gd name="T11" fmla="*/ 57 h 216"/>
                <a:gd name="T12" fmla="*/ 151 w 216"/>
                <a:gd name="T13" fmla="*/ 22 h 216"/>
                <a:gd name="T14" fmla="*/ 116 w 216"/>
                <a:gd name="T15" fmla="*/ 0 h 216"/>
                <a:gd name="T16" fmla="*/ 96 w 216"/>
                <a:gd name="T17" fmla="*/ 6 h 216"/>
                <a:gd name="T18" fmla="*/ 59 w 216"/>
                <a:gd name="T19" fmla="*/ 57 h 216"/>
                <a:gd name="T20" fmla="*/ 51 w 216"/>
                <a:gd name="T21" fmla="*/ 68 h 216"/>
                <a:gd name="T22" fmla="*/ 57 w 216"/>
                <a:gd name="T23" fmla="*/ 100 h 216"/>
                <a:gd name="T24" fmla="*/ 71 w 216"/>
                <a:gd name="T25" fmla="*/ 131 h 216"/>
                <a:gd name="T26" fmla="*/ 72 w 216"/>
                <a:gd name="T27" fmla="*/ 162 h 216"/>
                <a:gd name="T28" fmla="*/ 7 w 216"/>
                <a:gd name="T29" fmla="*/ 184 h 216"/>
                <a:gd name="T30" fmla="*/ 0 w 216"/>
                <a:gd name="T31" fmla="*/ 216 h 216"/>
                <a:gd name="T32" fmla="*/ 108 w 216"/>
                <a:gd name="T33" fmla="*/ 216 h 216"/>
                <a:gd name="T34" fmla="*/ 216 w 216"/>
                <a:gd name="T35" fmla="*/ 216 h 216"/>
                <a:gd name="T36" fmla="*/ 209 w 216"/>
                <a:gd name="T37" fmla="*/ 184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6" h="216">
                  <a:moveTo>
                    <a:pt x="209" y="184"/>
                  </a:moveTo>
                  <a:cubicBezTo>
                    <a:pt x="199" y="172"/>
                    <a:pt x="151" y="177"/>
                    <a:pt x="144" y="162"/>
                  </a:cubicBezTo>
                  <a:cubicBezTo>
                    <a:pt x="129" y="133"/>
                    <a:pt x="135" y="138"/>
                    <a:pt x="145" y="131"/>
                  </a:cubicBezTo>
                  <a:cubicBezTo>
                    <a:pt x="154" y="124"/>
                    <a:pt x="153" y="106"/>
                    <a:pt x="159" y="100"/>
                  </a:cubicBezTo>
                  <a:cubicBezTo>
                    <a:pt x="164" y="93"/>
                    <a:pt x="167" y="75"/>
                    <a:pt x="165" y="68"/>
                  </a:cubicBezTo>
                  <a:cubicBezTo>
                    <a:pt x="162" y="59"/>
                    <a:pt x="158" y="64"/>
                    <a:pt x="157" y="57"/>
                  </a:cubicBezTo>
                  <a:cubicBezTo>
                    <a:pt x="156" y="42"/>
                    <a:pt x="159" y="29"/>
                    <a:pt x="151" y="22"/>
                  </a:cubicBezTo>
                  <a:cubicBezTo>
                    <a:pt x="143" y="15"/>
                    <a:pt x="132" y="0"/>
                    <a:pt x="116" y="0"/>
                  </a:cubicBezTo>
                  <a:cubicBezTo>
                    <a:pt x="110" y="0"/>
                    <a:pt x="103" y="2"/>
                    <a:pt x="96" y="6"/>
                  </a:cubicBezTo>
                  <a:cubicBezTo>
                    <a:pt x="60" y="2"/>
                    <a:pt x="60" y="42"/>
                    <a:pt x="59" y="57"/>
                  </a:cubicBezTo>
                  <a:cubicBezTo>
                    <a:pt x="58" y="64"/>
                    <a:pt x="54" y="59"/>
                    <a:pt x="51" y="68"/>
                  </a:cubicBezTo>
                  <a:cubicBezTo>
                    <a:pt x="49" y="75"/>
                    <a:pt x="52" y="93"/>
                    <a:pt x="57" y="100"/>
                  </a:cubicBezTo>
                  <a:cubicBezTo>
                    <a:pt x="62" y="106"/>
                    <a:pt x="62" y="124"/>
                    <a:pt x="71" y="131"/>
                  </a:cubicBezTo>
                  <a:cubicBezTo>
                    <a:pt x="80" y="138"/>
                    <a:pt x="86" y="133"/>
                    <a:pt x="72" y="162"/>
                  </a:cubicBezTo>
                  <a:cubicBezTo>
                    <a:pt x="64" y="177"/>
                    <a:pt x="17" y="172"/>
                    <a:pt x="7" y="184"/>
                  </a:cubicBezTo>
                  <a:cubicBezTo>
                    <a:pt x="0" y="194"/>
                    <a:pt x="0" y="216"/>
                    <a:pt x="0" y="216"/>
                  </a:cubicBezTo>
                  <a:cubicBezTo>
                    <a:pt x="108" y="216"/>
                    <a:pt x="108" y="216"/>
                    <a:pt x="108" y="216"/>
                  </a:cubicBezTo>
                  <a:cubicBezTo>
                    <a:pt x="216" y="216"/>
                    <a:pt x="216" y="216"/>
                    <a:pt x="216" y="216"/>
                  </a:cubicBezTo>
                  <a:cubicBezTo>
                    <a:pt x="216" y="216"/>
                    <a:pt x="216" y="194"/>
                    <a:pt x="209" y="184"/>
                  </a:cubicBezTo>
                  <a:close/>
                </a:path>
              </a:pathLst>
            </a:custGeom>
            <a:grpFill/>
            <a:ln w="14288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3F01A45-7A06-4811-BDA8-1A7E3FA2056F}"/>
              </a:ext>
            </a:extLst>
          </p:cNvPr>
          <p:cNvGrpSpPr/>
          <p:nvPr/>
        </p:nvGrpSpPr>
        <p:grpSpPr>
          <a:xfrm>
            <a:off x="1344213" y="2165516"/>
            <a:ext cx="703263" cy="703263"/>
            <a:chOff x="5316538" y="151447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8" name="Oval 12">
              <a:extLst>
                <a:ext uri="{FF2B5EF4-FFF2-40B4-BE49-F238E27FC236}">
                  <a16:creationId xmlns:a16="http://schemas.microsoft.com/office/drawing/2014/main" id="{C74BCBD6-09C1-49C4-9846-F7E252A753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316538" y="151447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" name="Line 82">
              <a:extLst>
                <a:ext uri="{FF2B5EF4-FFF2-40B4-BE49-F238E27FC236}">
                  <a16:creationId xmlns:a16="http://schemas.microsoft.com/office/drawing/2014/main" id="{49DA9865-8A0C-4141-9F0C-77F51BBCC4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99088" y="1841501"/>
              <a:ext cx="63500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" name="Line 83">
              <a:extLst>
                <a:ext uri="{FF2B5EF4-FFF2-40B4-BE49-F238E27FC236}">
                  <a16:creationId xmlns:a16="http://schemas.microsoft.com/office/drawing/2014/main" id="{B4131C2B-DC2F-4907-8B17-29E508C6A95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375275" y="1816101"/>
              <a:ext cx="87313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" name="Oval 84">
              <a:extLst>
                <a:ext uri="{FF2B5EF4-FFF2-40B4-BE49-F238E27FC236}">
                  <a16:creationId xmlns:a16="http://schemas.microsoft.com/office/drawing/2014/main" id="{39C32900-64DF-45E0-A789-532932E85B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78463" y="1924051"/>
              <a:ext cx="49213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" name="Oval 85">
              <a:extLst>
                <a:ext uri="{FF2B5EF4-FFF2-40B4-BE49-F238E27FC236}">
                  <a16:creationId xmlns:a16="http://schemas.microsoft.com/office/drawing/2014/main" id="{041913B1-4B5D-41A1-9C4C-58861D6CB33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546725" y="1924051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3" name="Oval 86">
              <a:extLst>
                <a:ext uri="{FF2B5EF4-FFF2-40B4-BE49-F238E27FC236}">
                  <a16:creationId xmlns:a16="http://schemas.microsoft.com/office/drawing/2014/main" id="{62FB1CE1-FC71-42A0-965C-42630ACF891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614988" y="1924051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Freeform 87">
              <a:extLst>
                <a:ext uri="{FF2B5EF4-FFF2-40B4-BE49-F238E27FC236}">
                  <a16:creationId xmlns:a16="http://schemas.microsoft.com/office/drawing/2014/main" id="{25B43FD5-A3C0-45F9-A74F-6E6689AAE4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4063" y="1778001"/>
              <a:ext cx="38100" cy="23813"/>
            </a:xfrm>
            <a:custGeom>
              <a:avLst/>
              <a:gdLst>
                <a:gd name="T0" fmla="*/ 0 w 24"/>
                <a:gd name="T1" fmla="*/ 15 h 15"/>
                <a:gd name="T2" fmla="*/ 0 w 24"/>
                <a:gd name="T3" fmla="*/ 0 h 15"/>
                <a:gd name="T4" fmla="*/ 24 w 24"/>
                <a:gd name="T5" fmla="*/ 15 h 15"/>
                <a:gd name="T6" fmla="*/ 0 w 24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15">
                  <a:moveTo>
                    <a:pt x="0" y="15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7"/>
                    <a:pt x="24" y="15"/>
                    <a:pt x="24" y="15"/>
                  </a:cubicBezTo>
                  <a:lnTo>
                    <a:pt x="0" y="15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88">
              <a:extLst>
                <a:ext uri="{FF2B5EF4-FFF2-40B4-BE49-F238E27FC236}">
                  <a16:creationId xmlns:a16="http://schemas.microsoft.com/office/drawing/2014/main" id="{20192A6D-9224-470C-8AA5-46531EFCF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9250" y="1778001"/>
              <a:ext cx="388938" cy="158750"/>
            </a:xfrm>
            <a:custGeom>
              <a:avLst/>
              <a:gdLst>
                <a:gd name="T0" fmla="*/ 148 w 245"/>
                <a:gd name="T1" fmla="*/ 100 h 100"/>
                <a:gd name="T2" fmla="*/ 245 w 245"/>
                <a:gd name="T3" fmla="*/ 100 h 100"/>
                <a:gd name="T4" fmla="*/ 245 w 245"/>
                <a:gd name="T5" fmla="*/ 0 h 100"/>
                <a:gd name="T6" fmla="*/ 0 w 245"/>
                <a:gd name="T7" fmla="*/ 0 h 100"/>
                <a:gd name="T8" fmla="*/ 0 w 245"/>
                <a:gd name="T9" fmla="*/ 100 h 100"/>
                <a:gd name="T10" fmla="*/ 32 w 245"/>
                <a:gd name="T11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100">
                  <a:moveTo>
                    <a:pt x="148" y="100"/>
                  </a:moveTo>
                  <a:lnTo>
                    <a:pt x="245" y="100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100"/>
                  </a:lnTo>
                  <a:lnTo>
                    <a:pt x="32" y="100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6" name="Line 89">
              <a:extLst>
                <a:ext uri="{FF2B5EF4-FFF2-40B4-BE49-F238E27FC236}">
                  <a16:creationId xmlns:a16="http://schemas.microsoft.com/office/drawing/2014/main" id="{D9EACA72-E10D-4286-A61D-B605668A15C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94350" y="1936751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7" name="Line 90">
              <a:extLst>
                <a:ext uri="{FF2B5EF4-FFF2-40B4-BE49-F238E27FC236}">
                  <a16:creationId xmlns:a16="http://schemas.microsoft.com/office/drawing/2014/main" id="{24C63F4C-0E90-4D6F-9C99-9DD096036425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26088" y="1936751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8" name="Freeform 91">
              <a:extLst>
                <a:ext uri="{FF2B5EF4-FFF2-40B4-BE49-F238E27FC236}">
                  <a16:creationId xmlns:a16="http://schemas.microsoft.com/office/drawing/2014/main" id="{DA72CCD2-040E-4789-8ED4-9C9CE18F9E1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37238" y="1816101"/>
              <a:ext cx="104775" cy="112713"/>
            </a:xfrm>
            <a:custGeom>
              <a:avLst/>
              <a:gdLst>
                <a:gd name="T0" fmla="*/ 47 w 66"/>
                <a:gd name="T1" fmla="*/ 71 h 71"/>
                <a:gd name="T2" fmla="*/ 66 w 66"/>
                <a:gd name="T3" fmla="*/ 71 h 71"/>
                <a:gd name="T4" fmla="*/ 66 w 66"/>
                <a:gd name="T5" fmla="*/ 41 h 71"/>
                <a:gd name="T6" fmla="*/ 66 w 66"/>
                <a:gd name="T7" fmla="*/ 33 h 71"/>
                <a:gd name="T8" fmla="*/ 51 w 66"/>
                <a:gd name="T9" fmla="*/ 0 h 71"/>
                <a:gd name="T10" fmla="*/ 0 w 66"/>
                <a:gd name="T11" fmla="*/ 0 h 71"/>
                <a:gd name="T12" fmla="*/ 0 w 66"/>
                <a:gd name="T13" fmla="*/ 71 h 71"/>
                <a:gd name="T14" fmla="*/ 18 w 66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6" h="71">
                  <a:moveTo>
                    <a:pt x="47" y="71"/>
                  </a:moveTo>
                  <a:lnTo>
                    <a:pt x="66" y="71"/>
                  </a:lnTo>
                  <a:lnTo>
                    <a:pt x="66" y="41"/>
                  </a:lnTo>
                  <a:lnTo>
                    <a:pt x="66" y="33"/>
                  </a:lnTo>
                  <a:lnTo>
                    <a:pt x="51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9" name="Oval 92">
              <a:extLst>
                <a:ext uri="{FF2B5EF4-FFF2-40B4-BE49-F238E27FC236}">
                  <a16:creationId xmlns:a16="http://schemas.microsoft.com/office/drawing/2014/main" id="{A6D497DE-A891-487E-A33F-F4250E331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861050" y="1916113"/>
              <a:ext cx="53975" cy="53975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20" name="TextBox 19">
            <a:extLst>
              <a:ext uri="{FF2B5EF4-FFF2-40B4-BE49-F238E27FC236}">
                <a16:creationId xmlns:a16="http://schemas.microsoft.com/office/drawing/2014/main" id="{FBD02E07-8597-46F5-8474-3E73353878CA}"/>
              </a:ext>
            </a:extLst>
          </p:cNvPr>
          <p:cNvSpPr txBox="1"/>
          <p:nvPr/>
        </p:nvSpPr>
        <p:spPr>
          <a:xfrm>
            <a:off x="243198" y="297758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Manufacturer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F6908B1-2D1B-4E63-BAA3-1A6C9243C09F}"/>
              </a:ext>
            </a:extLst>
          </p:cNvPr>
          <p:cNvSpPr txBox="1"/>
          <p:nvPr/>
        </p:nvSpPr>
        <p:spPr>
          <a:xfrm>
            <a:off x="1217476" y="297758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92304865-7642-4AC9-8908-0C0EBBDEBD48}"/>
              </a:ext>
            </a:extLst>
          </p:cNvPr>
          <p:cNvSpPr txBox="1"/>
          <p:nvPr/>
        </p:nvSpPr>
        <p:spPr>
          <a:xfrm>
            <a:off x="10971122" y="2959617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consignee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6C6ADE58-83C0-4B3E-A5C6-68855269A2AD}"/>
              </a:ext>
            </a:extLst>
          </p:cNvPr>
          <p:cNvGrpSpPr/>
          <p:nvPr/>
        </p:nvGrpSpPr>
        <p:grpSpPr>
          <a:xfrm>
            <a:off x="359962" y="2165516"/>
            <a:ext cx="703263" cy="703263"/>
            <a:chOff x="431070" y="1342382"/>
            <a:chExt cx="703263" cy="703263"/>
          </a:xfrm>
        </p:grpSpPr>
        <p:sp>
          <p:nvSpPr>
            <p:cNvPr id="24" name="Oval 12">
              <a:extLst>
                <a:ext uri="{FF2B5EF4-FFF2-40B4-BE49-F238E27FC236}">
                  <a16:creationId xmlns:a16="http://schemas.microsoft.com/office/drawing/2014/main" id="{15E73F95-BDC0-4990-9AC7-3164308F8B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1070" y="1342382"/>
              <a:ext cx="703263" cy="703263"/>
            </a:xfrm>
            <a:prstGeom prst="ellipse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0F1A90E2-F0A3-4051-9EBB-582F9021DD76}"/>
                </a:ext>
              </a:extLst>
            </p:cNvPr>
            <p:cNvGrpSpPr/>
            <p:nvPr/>
          </p:nvGrpSpPr>
          <p:grpSpPr>
            <a:xfrm>
              <a:off x="625142" y="1423630"/>
              <a:ext cx="307975" cy="454025"/>
              <a:chOff x="3732213" y="1597026"/>
              <a:chExt cx="307975" cy="454025"/>
            </a:xfrm>
          </p:grpSpPr>
          <p:sp>
            <p:nvSpPr>
              <p:cNvPr id="26" name="Freeform 45">
                <a:extLst>
                  <a:ext uri="{FF2B5EF4-FFF2-40B4-BE49-F238E27FC236}">
                    <a16:creationId xmlns:a16="http://schemas.microsoft.com/office/drawing/2014/main" id="{18F34AE7-5FB0-4393-A4B5-C0EDAC7D6D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32213" y="1663701"/>
                <a:ext cx="307975" cy="387350"/>
              </a:xfrm>
              <a:custGeom>
                <a:avLst/>
                <a:gdLst>
                  <a:gd name="T0" fmla="*/ 168 w 194"/>
                  <a:gd name="T1" fmla="*/ 116 h 244"/>
                  <a:gd name="T2" fmla="*/ 159 w 194"/>
                  <a:gd name="T3" fmla="*/ 0 h 244"/>
                  <a:gd name="T4" fmla="*/ 138 w 194"/>
                  <a:gd name="T5" fmla="*/ 0 h 244"/>
                  <a:gd name="T6" fmla="*/ 128 w 194"/>
                  <a:gd name="T7" fmla="*/ 116 h 244"/>
                  <a:gd name="T8" fmla="*/ 0 w 194"/>
                  <a:gd name="T9" fmla="*/ 116 h 244"/>
                  <a:gd name="T10" fmla="*/ 0 w 194"/>
                  <a:gd name="T11" fmla="*/ 244 h 244"/>
                  <a:gd name="T12" fmla="*/ 194 w 194"/>
                  <a:gd name="T13" fmla="*/ 244 h 244"/>
                  <a:gd name="T14" fmla="*/ 194 w 194"/>
                  <a:gd name="T15" fmla="*/ 116 h 244"/>
                  <a:gd name="T16" fmla="*/ 168 w 194"/>
                  <a:gd name="T17" fmla="*/ 116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94" h="244">
                    <a:moveTo>
                      <a:pt x="168" y="116"/>
                    </a:moveTo>
                    <a:lnTo>
                      <a:pt x="159" y="0"/>
                    </a:lnTo>
                    <a:lnTo>
                      <a:pt x="138" y="0"/>
                    </a:lnTo>
                    <a:lnTo>
                      <a:pt x="128" y="116"/>
                    </a:lnTo>
                    <a:lnTo>
                      <a:pt x="0" y="116"/>
                    </a:lnTo>
                    <a:lnTo>
                      <a:pt x="0" y="244"/>
                    </a:lnTo>
                    <a:lnTo>
                      <a:pt x="194" y="244"/>
                    </a:lnTo>
                    <a:lnTo>
                      <a:pt x="194" y="116"/>
                    </a:lnTo>
                    <a:lnTo>
                      <a:pt x="168" y="116"/>
                    </a:ln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7" name="Freeform 46">
                <a:extLst>
                  <a:ext uri="{FF2B5EF4-FFF2-40B4-BE49-F238E27FC236}">
                    <a16:creationId xmlns:a16="http://schemas.microsoft.com/office/drawing/2014/main" id="{BE4EB9B6-E1C3-4117-B243-90F76EE7E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35400" y="1612901"/>
                <a:ext cx="130175" cy="46038"/>
              </a:xfrm>
              <a:custGeom>
                <a:avLst/>
                <a:gdLst>
                  <a:gd name="T0" fmla="*/ 20 w 82"/>
                  <a:gd name="T1" fmla="*/ 20 h 28"/>
                  <a:gd name="T2" fmla="*/ 13 w 82"/>
                  <a:gd name="T3" fmla="*/ 19 h 28"/>
                  <a:gd name="T4" fmla="*/ 0 w 82"/>
                  <a:gd name="T5" fmla="*/ 14 h 28"/>
                  <a:gd name="T6" fmla="*/ 3 w 82"/>
                  <a:gd name="T7" fmla="*/ 17 h 28"/>
                  <a:gd name="T8" fmla="*/ 11 w 82"/>
                  <a:gd name="T9" fmla="*/ 24 h 28"/>
                  <a:gd name="T10" fmla="*/ 19 w 82"/>
                  <a:gd name="T11" fmla="*/ 27 h 28"/>
                  <a:gd name="T12" fmla="*/ 28 w 82"/>
                  <a:gd name="T13" fmla="*/ 27 h 28"/>
                  <a:gd name="T14" fmla="*/ 45 w 82"/>
                  <a:gd name="T15" fmla="*/ 18 h 28"/>
                  <a:gd name="T16" fmla="*/ 51 w 82"/>
                  <a:gd name="T17" fmla="*/ 12 h 28"/>
                  <a:gd name="T18" fmla="*/ 57 w 82"/>
                  <a:gd name="T19" fmla="*/ 9 h 28"/>
                  <a:gd name="T20" fmla="*/ 69 w 82"/>
                  <a:gd name="T21" fmla="*/ 8 h 28"/>
                  <a:gd name="T22" fmla="*/ 78 w 82"/>
                  <a:gd name="T23" fmla="*/ 12 h 28"/>
                  <a:gd name="T24" fmla="*/ 82 w 82"/>
                  <a:gd name="T25" fmla="*/ 14 h 28"/>
                  <a:gd name="T26" fmla="*/ 80 w 82"/>
                  <a:gd name="T27" fmla="*/ 11 h 28"/>
                  <a:gd name="T28" fmla="*/ 71 w 82"/>
                  <a:gd name="T29" fmla="*/ 3 h 28"/>
                  <a:gd name="T30" fmla="*/ 63 w 82"/>
                  <a:gd name="T31" fmla="*/ 1 h 28"/>
                  <a:gd name="T32" fmla="*/ 54 w 82"/>
                  <a:gd name="T33" fmla="*/ 1 h 28"/>
                  <a:gd name="T34" fmla="*/ 49 w 82"/>
                  <a:gd name="T35" fmla="*/ 3 h 28"/>
                  <a:gd name="T36" fmla="*/ 45 w 82"/>
                  <a:gd name="T37" fmla="*/ 6 h 28"/>
                  <a:gd name="T38" fmla="*/ 38 w 82"/>
                  <a:gd name="T39" fmla="*/ 12 h 28"/>
                  <a:gd name="T40" fmla="*/ 26 w 82"/>
                  <a:gd name="T41" fmla="*/ 19 h 28"/>
                  <a:gd name="T42" fmla="*/ 20 w 82"/>
                  <a:gd name="T43" fmla="*/ 2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2" h="28">
                    <a:moveTo>
                      <a:pt x="20" y="20"/>
                    </a:moveTo>
                    <a:cubicBezTo>
                      <a:pt x="18" y="20"/>
                      <a:pt x="15" y="19"/>
                      <a:pt x="13" y="19"/>
                    </a:cubicBezTo>
                    <a:cubicBezTo>
                      <a:pt x="5" y="17"/>
                      <a:pt x="0" y="14"/>
                      <a:pt x="0" y="14"/>
                    </a:cubicBezTo>
                    <a:cubicBezTo>
                      <a:pt x="0" y="14"/>
                      <a:pt x="1" y="15"/>
                      <a:pt x="3" y="17"/>
                    </a:cubicBezTo>
                    <a:cubicBezTo>
                      <a:pt x="4" y="19"/>
                      <a:pt x="7" y="22"/>
                      <a:pt x="11" y="24"/>
                    </a:cubicBezTo>
                    <a:cubicBezTo>
                      <a:pt x="13" y="25"/>
                      <a:pt x="16" y="26"/>
                      <a:pt x="19" y="27"/>
                    </a:cubicBezTo>
                    <a:cubicBezTo>
                      <a:pt x="21" y="27"/>
                      <a:pt x="24" y="28"/>
                      <a:pt x="28" y="27"/>
                    </a:cubicBezTo>
                    <a:cubicBezTo>
                      <a:pt x="34" y="27"/>
                      <a:pt x="41" y="23"/>
                      <a:pt x="45" y="18"/>
                    </a:cubicBezTo>
                    <a:cubicBezTo>
                      <a:pt x="47" y="17"/>
                      <a:pt x="49" y="14"/>
                      <a:pt x="51" y="12"/>
                    </a:cubicBezTo>
                    <a:cubicBezTo>
                      <a:pt x="52" y="11"/>
                      <a:pt x="54" y="10"/>
                      <a:pt x="57" y="9"/>
                    </a:cubicBezTo>
                    <a:cubicBezTo>
                      <a:pt x="61" y="7"/>
                      <a:pt x="65" y="7"/>
                      <a:pt x="69" y="8"/>
                    </a:cubicBezTo>
                    <a:cubicBezTo>
                      <a:pt x="73" y="9"/>
                      <a:pt x="76" y="11"/>
                      <a:pt x="78" y="12"/>
                    </a:cubicBezTo>
                    <a:cubicBezTo>
                      <a:pt x="81" y="13"/>
                      <a:pt x="82" y="14"/>
                      <a:pt x="82" y="14"/>
                    </a:cubicBezTo>
                    <a:cubicBezTo>
                      <a:pt x="82" y="14"/>
                      <a:pt x="81" y="13"/>
                      <a:pt x="80" y="11"/>
                    </a:cubicBezTo>
                    <a:cubicBezTo>
                      <a:pt x="78" y="9"/>
                      <a:pt x="75" y="6"/>
                      <a:pt x="71" y="3"/>
                    </a:cubicBezTo>
                    <a:cubicBezTo>
                      <a:pt x="69" y="2"/>
                      <a:pt x="66" y="1"/>
                      <a:pt x="63" y="1"/>
                    </a:cubicBezTo>
                    <a:cubicBezTo>
                      <a:pt x="61" y="0"/>
                      <a:pt x="57" y="0"/>
                      <a:pt x="54" y="1"/>
                    </a:cubicBezTo>
                    <a:cubicBezTo>
                      <a:pt x="52" y="2"/>
                      <a:pt x="51" y="2"/>
                      <a:pt x="49" y="3"/>
                    </a:cubicBezTo>
                    <a:cubicBezTo>
                      <a:pt x="48" y="4"/>
                      <a:pt x="46" y="5"/>
                      <a:pt x="45" y="6"/>
                    </a:cubicBezTo>
                    <a:cubicBezTo>
                      <a:pt x="42" y="8"/>
                      <a:pt x="41" y="10"/>
                      <a:pt x="38" y="12"/>
                    </a:cubicBezTo>
                    <a:cubicBezTo>
                      <a:pt x="35" y="16"/>
                      <a:pt x="31" y="18"/>
                      <a:pt x="26" y="19"/>
                    </a:cubicBezTo>
                    <a:cubicBezTo>
                      <a:pt x="24" y="20"/>
                      <a:pt x="22" y="20"/>
                      <a:pt x="20" y="20"/>
                    </a:cubicBez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8" name="Freeform 47">
                <a:extLst>
                  <a:ext uri="{FF2B5EF4-FFF2-40B4-BE49-F238E27FC236}">
                    <a16:creationId xmlns:a16="http://schemas.microsoft.com/office/drawing/2014/main" id="{613A2AB0-D626-470B-8248-9F0F3FCEE1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48088" y="1597026"/>
                <a:ext cx="131763" cy="46038"/>
              </a:xfrm>
              <a:custGeom>
                <a:avLst/>
                <a:gdLst>
                  <a:gd name="T0" fmla="*/ 12 w 83"/>
                  <a:gd name="T1" fmla="*/ 24 h 28"/>
                  <a:gd name="T2" fmla="*/ 19 w 83"/>
                  <a:gd name="T3" fmla="*/ 27 h 28"/>
                  <a:gd name="T4" fmla="*/ 28 w 83"/>
                  <a:gd name="T5" fmla="*/ 28 h 28"/>
                  <a:gd name="T6" fmla="*/ 46 w 83"/>
                  <a:gd name="T7" fmla="*/ 18 h 28"/>
                  <a:gd name="T8" fmla="*/ 51 w 83"/>
                  <a:gd name="T9" fmla="*/ 13 h 28"/>
                  <a:gd name="T10" fmla="*/ 57 w 83"/>
                  <a:gd name="T11" fmla="*/ 9 h 28"/>
                  <a:gd name="T12" fmla="*/ 70 w 83"/>
                  <a:gd name="T13" fmla="*/ 9 h 28"/>
                  <a:gd name="T14" fmla="*/ 79 w 83"/>
                  <a:gd name="T15" fmla="*/ 12 h 28"/>
                  <a:gd name="T16" fmla="*/ 83 w 83"/>
                  <a:gd name="T17" fmla="*/ 14 h 28"/>
                  <a:gd name="T18" fmla="*/ 80 w 83"/>
                  <a:gd name="T19" fmla="*/ 11 h 28"/>
                  <a:gd name="T20" fmla="*/ 71 w 83"/>
                  <a:gd name="T21" fmla="*/ 4 h 28"/>
                  <a:gd name="T22" fmla="*/ 64 w 83"/>
                  <a:gd name="T23" fmla="*/ 1 h 28"/>
                  <a:gd name="T24" fmla="*/ 55 w 83"/>
                  <a:gd name="T25" fmla="*/ 1 h 28"/>
                  <a:gd name="T26" fmla="*/ 50 w 83"/>
                  <a:gd name="T27" fmla="*/ 3 h 28"/>
                  <a:gd name="T28" fmla="*/ 46 w 83"/>
                  <a:gd name="T29" fmla="*/ 6 h 28"/>
                  <a:gd name="T30" fmla="*/ 39 w 83"/>
                  <a:gd name="T31" fmla="*/ 12 h 28"/>
                  <a:gd name="T32" fmla="*/ 27 w 83"/>
                  <a:gd name="T33" fmla="*/ 20 h 28"/>
                  <a:gd name="T34" fmla="*/ 20 w 83"/>
                  <a:gd name="T35" fmla="*/ 20 h 28"/>
                  <a:gd name="T36" fmla="*/ 14 w 83"/>
                  <a:gd name="T37" fmla="*/ 19 h 28"/>
                  <a:gd name="T38" fmla="*/ 0 w 83"/>
                  <a:gd name="T39" fmla="*/ 14 h 28"/>
                  <a:gd name="T40" fmla="*/ 3 w 83"/>
                  <a:gd name="T41" fmla="*/ 17 h 28"/>
                  <a:gd name="T42" fmla="*/ 12 w 83"/>
                  <a:gd name="T43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83" h="28">
                    <a:moveTo>
                      <a:pt x="12" y="24"/>
                    </a:moveTo>
                    <a:cubicBezTo>
                      <a:pt x="14" y="25"/>
                      <a:pt x="16" y="26"/>
                      <a:pt x="19" y="27"/>
                    </a:cubicBezTo>
                    <a:cubicBezTo>
                      <a:pt x="22" y="28"/>
                      <a:pt x="25" y="28"/>
                      <a:pt x="28" y="28"/>
                    </a:cubicBezTo>
                    <a:cubicBezTo>
                      <a:pt x="35" y="27"/>
                      <a:pt x="41" y="23"/>
                      <a:pt x="46" y="18"/>
                    </a:cubicBezTo>
                    <a:cubicBezTo>
                      <a:pt x="47" y="17"/>
                      <a:pt x="50" y="14"/>
                      <a:pt x="51" y="13"/>
                    </a:cubicBezTo>
                    <a:cubicBezTo>
                      <a:pt x="53" y="11"/>
                      <a:pt x="55" y="10"/>
                      <a:pt x="57" y="9"/>
                    </a:cubicBezTo>
                    <a:cubicBezTo>
                      <a:pt x="61" y="7"/>
                      <a:pt x="66" y="8"/>
                      <a:pt x="70" y="9"/>
                    </a:cubicBezTo>
                    <a:cubicBezTo>
                      <a:pt x="73" y="10"/>
                      <a:pt x="77" y="11"/>
                      <a:pt x="79" y="12"/>
                    </a:cubicBezTo>
                    <a:cubicBezTo>
                      <a:pt x="81" y="13"/>
                      <a:pt x="83" y="14"/>
                      <a:pt x="83" y="14"/>
                    </a:cubicBezTo>
                    <a:cubicBezTo>
                      <a:pt x="83" y="14"/>
                      <a:pt x="82" y="13"/>
                      <a:pt x="80" y="11"/>
                    </a:cubicBezTo>
                    <a:cubicBezTo>
                      <a:pt x="78" y="9"/>
                      <a:pt x="76" y="6"/>
                      <a:pt x="71" y="4"/>
                    </a:cubicBezTo>
                    <a:cubicBezTo>
                      <a:pt x="69" y="2"/>
                      <a:pt x="67" y="1"/>
                      <a:pt x="64" y="1"/>
                    </a:cubicBezTo>
                    <a:cubicBezTo>
                      <a:pt x="61" y="1"/>
                      <a:pt x="58" y="0"/>
                      <a:pt x="55" y="1"/>
                    </a:cubicBezTo>
                    <a:cubicBezTo>
                      <a:pt x="53" y="2"/>
                      <a:pt x="51" y="2"/>
                      <a:pt x="50" y="3"/>
                    </a:cubicBezTo>
                    <a:cubicBezTo>
                      <a:pt x="48" y="4"/>
                      <a:pt x="47" y="5"/>
                      <a:pt x="46" y="6"/>
                    </a:cubicBezTo>
                    <a:cubicBezTo>
                      <a:pt x="42" y="8"/>
                      <a:pt x="41" y="10"/>
                      <a:pt x="39" y="12"/>
                    </a:cubicBezTo>
                    <a:cubicBezTo>
                      <a:pt x="36" y="16"/>
                      <a:pt x="31" y="19"/>
                      <a:pt x="27" y="20"/>
                    </a:cubicBezTo>
                    <a:cubicBezTo>
                      <a:pt x="25" y="20"/>
                      <a:pt x="23" y="20"/>
                      <a:pt x="20" y="20"/>
                    </a:cubicBezTo>
                    <a:cubicBezTo>
                      <a:pt x="18" y="20"/>
                      <a:pt x="16" y="20"/>
                      <a:pt x="14" y="19"/>
                    </a:cubicBezTo>
                    <a:cubicBezTo>
                      <a:pt x="6" y="17"/>
                      <a:pt x="0" y="14"/>
                      <a:pt x="0" y="14"/>
                    </a:cubicBezTo>
                    <a:cubicBezTo>
                      <a:pt x="0" y="14"/>
                      <a:pt x="1" y="15"/>
                      <a:pt x="3" y="17"/>
                    </a:cubicBezTo>
                    <a:cubicBezTo>
                      <a:pt x="5" y="19"/>
                      <a:pt x="8" y="22"/>
                      <a:pt x="12" y="24"/>
                    </a:cubicBezTo>
                    <a:close/>
                  </a:path>
                </a:pathLst>
              </a:cu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9" name="Rectangle 48">
                <a:extLst>
                  <a:ext uri="{FF2B5EF4-FFF2-40B4-BE49-F238E27FC236}">
                    <a16:creationId xmlns:a16="http://schemas.microsoft.com/office/drawing/2014/main" id="{27D72C9B-DFC4-4469-9D31-25F8781C234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67138" y="1892301"/>
                <a:ext cx="57150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0" name="Rectangle 49">
                <a:extLst>
                  <a:ext uri="{FF2B5EF4-FFF2-40B4-BE49-F238E27FC236}">
                    <a16:creationId xmlns:a16="http://schemas.microsoft.com/office/drawing/2014/main" id="{89A4F7A7-9F55-44B7-90CB-8D1DAA11888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856038" y="1892301"/>
                <a:ext cx="55563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31" name="Rectangle 50">
                <a:extLst>
                  <a:ext uri="{FF2B5EF4-FFF2-40B4-BE49-F238E27FC236}">
                    <a16:creationId xmlns:a16="http://schemas.microsoft.com/office/drawing/2014/main" id="{4F7F8A9D-1A7B-4C05-93AF-3CF02A69651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944938" y="1892301"/>
                <a:ext cx="57150" cy="61913"/>
              </a:xfrm>
              <a:prstGeom prst="rect">
                <a:avLst/>
              </a:prstGeom>
              <a:noFill/>
              <a:ln w="14288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Open Sans" panose="020B0606030504020204" pitchFamily="34" charset="0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3F0A94B5-683C-47BC-877B-C807E79A504E}"/>
              </a:ext>
            </a:extLst>
          </p:cNvPr>
          <p:cNvGrpSpPr/>
          <p:nvPr/>
        </p:nvGrpSpPr>
        <p:grpSpPr>
          <a:xfrm>
            <a:off x="3396620" y="2165516"/>
            <a:ext cx="703263" cy="703263"/>
            <a:chOff x="8885238" y="15208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33" name="Oval 14">
              <a:extLst>
                <a:ext uri="{FF2B5EF4-FFF2-40B4-BE49-F238E27FC236}">
                  <a16:creationId xmlns:a16="http://schemas.microsoft.com/office/drawing/2014/main" id="{0657658C-3D88-417A-A582-520CCE407C6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5238" y="15208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4" name="Line 51">
              <a:extLst>
                <a:ext uri="{FF2B5EF4-FFF2-40B4-BE49-F238E27FC236}">
                  <a16:creationId xmlns:a16="http://schemas.microsoft.com/office/drawing/2014/main" id="{5862FA01-49C8-48D8-80CD-A61956981F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48763" y="1997076"/>
              <a:ext cx="7620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5" name="Line 52">
              <a:extLst>
                <a:ext uri="{FF2B5EF4-FFF2-40B4-BE49-F238E27FC236}">
                  <a16:creationId xmlns:a16="http://schemas.microsoft.com/office/drawing/2014/main" id="{2F7BD248-0EE3-4A8E-B7FE-DA4DB99BE1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1000" y="19970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6" name="Freeform 53">
              <a:extLst>
                <a:ext uri="{FF2B5EF4-FFF2-40B4-BE49-F238E27FC236}">
                  <a16:creationId xmlns:a16="http://schemas.microsoft.com/office/drawing/2014/main" id="{D19224D2-823D-475A-9FED-93916B35993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0650" y="16827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3 h 198"/>
                <a:gd name="T6" fmla="*/ 30 w 221"/>
                <a:gd name="T7" fmla="*/ 103 h 198"/>
                <a:gd name="T8" fmla="*/ 31 w 221"/>
                <a:gd name="T9" fmla="*/ 0 h 198"/>
                <a:gd name="T10" fmla="*/ 129 w 221"/>
                <a:gd name="T11" fmla="*/ 0 h 198"/>
                <a:gd name="T12" fmla="*/ 177 w 221"/>
                <a:gd name="T13" fmla="*/ 136 h 198"/>
                <a:gd name="T14" fmla="*/ 202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3"/>
                  </a:lnTo>
                  <a:lnTo>
                    <a:pt x="30" y="103"/>
                  </a:lnTo>
                  <a:lnTo>
                    <a:pt x="31" y="0"/>
                  </a:lnTo>
                  <a:lnTo>
                    <a:pt x="129" y="0"/>
                  </a:lnTo>
                  <a:lnTo>
                    <a:pt x="177" y="136"/>
                  </a:lnTo>
                  <a:lnTo>
                    <a:pt x="202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7" name="Freeform 54">
              <a:extLst>
                <a:ext uri="{FF2B5EF4-FFF2-40B4-BE49-F238E27FC236}">
                  <a16:creationId xmlns:a16="http://schemas.microsoft.com/office/drawing/2014/main" id="{293D8E87-8231-4166-8D93-D210D7293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0025" y="1714501"/>
              <a:ext cx="168275" cy="184150"/>
            </a:xfrm>
            <a:custGeom>
              <a:avLst/>
              <a:gdLst>
                <a:gd name="T0" fmla="*/ 0 w 106"/>
                <a:gd name="T1" fmla="*/ 0 h 116"/>
                <a:gd name="T2" fmla="*/ 65 w 106"/>
                <a:gd name="T3" fmla="*/ 0 h 116"/>
                <a:gd name="T4" fmla="*/ 106 w 106"/>
                <a:gd name="T5" fmla="*/ 116 h 116"/>
                <a:gd name="T6" fmla="*/ 62 w 106"/>
                <a:gd name="T7" fmla="*/ 116 h 116"/>
                <a:gd name="T8" fmla="*/ 42 w 106"/>
                <a:gd name="T9" fmla="*/ 81 h 116"/>
                <a:gd name="T10" fmla="*/ 0 w 106"/>
                <a:gd name="T11" fmla="*/ 81 h 116"/>
                <a:gd name="T12" fmla="*/ 0 w 106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16">
                  <a:moveTo>
                    <a:pt x="0" y="0"/>
                  </a:moveTo>
                  <a:lnTo>
                    <a:pt x="65" y="0"/>
                  </a:lnTo>
                  <a:lnTo>
                    <a:pt x="106" y="116"/>
                  </a:lnTo>
                  <a:lnTo>
                    <a:pt x="62" y="116"/>
                  </a:lnTo>
                  <a:lnTo>
                    <a:pt x="42" y="81"/>
                  </a:lnTo>
                  <a:lnTo>
                    <a:pt x="0" y="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8" name="Freeform 55">
              <a:extLst>
                <a:ext uri="{FF2B5EF4-FFF2-40B4-BE49-F238E27FC236}">
                  <a16:creationId xmlns:a16="http://schemas.microsoft.com/office/drawing/2014/main" id="{8DD3DE4D-9B93-44C5-BBDB-05E0A1A934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2113" y="1697038"/>
              <a:ext cx="230188" cy="296863"/>
            </a:xfrm>
            <a:custGeom>
              <a:avLst/>
              <a:gdLst>
                <a:gd name="T0" fmla="*/ 0 w 145"/>
                <a:gd name="T1" fmla="*/ 0 h 187"/>
                <a:gd name="T2" fmla="*/ 63 w 145"/>
                <a:gd name="T3" fmla="*/ 187 h 187"/>
                <a:gd name="T4" fmla="*/ 145 w 145"/>
                <a:gd name="T5" fmla="*/ 1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5" h="187">
                  <a:moveTo>
                    <a:pt x="0" y="0"/>
                  </a:moveTo>
                  <a:lnTo>
                    <a:pt x="63" y="187"/>
                  </a:lnTo>
                  <a:lnTo>
                    <a:pt x="145" y="162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39" name="Oval 56">
              <a:extLst>
                <a:ext uri="{FF2B5EF4-FFF2-40B4-BE49-F238E27FC236}">
                  <a16:creationId xmlns:a16="http://schemas.microsoft.com/office/drawing/2014/main" id="{80A21E69-0184-4944-AB8F-C6B90D5907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5738" y="1970088"/>
              <a:ext cx="69850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0" name="Oval 57">
              <a:extLst>
                <a:ext uri="{FF2B5EF4-FFF2-40B4-BE49-F238E27FC236}">
                  <a16:creationId xmlns:a16="http://schemas.microsoft.com/office/drawing/2014/main" id="{45BE0E10-2203-4041-BA86-FF56EA58CD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6550" y="19700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1" name="TextBox 40">
            <a:extLst>
              <a:ext uri="{FF2B5EF4-FFF2-40B4-BE49-F238E27FC236}">
                <a16:creationId xmlns:a16="http://schemas.microsoft.com/office/drawing/2014/main" id="{2EE963A9-1CA4-42C8-B5D8-56971CC57178}"/>
              </a:ext>
            </a:extLst>
          </p:cNvPr>
          <p:cNvSpPr txBox="1"/>
          <p:nvPr/>
        </p:nvSpPr>
        <p:spPr>
          <a:xfrm>
            <a:off x="3283954" y="2945719"/>
            <a:ext cx="933848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46E6482B-4BFC-4472-BAE8-022B25942A7E}"/>
              </a:ext>
            </a:extLst>
          </p:cNvPr>
          <p:cNvGrpSpPr/>
          <p:nvPr/>
        </p:nvGrpSpPr>
        <p:grpSpPr>
          <a:xfrm>
            <a:off x="2348699" y="2165516"/>
            <a:ext cx="703263" cy="703263"/>
            <a:chOff x="7100888" y="15081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43" name="Oval 10">
              <a:extLst>
                <a:ext uri="{FF2B5EF4-FFF2-40B4-BE49-F238E27FC236}">
                  <a16:creationId xmlns:a16="http://schemas.microsoft.com/office/drawing/2014/main" id="{BFA6D26B-9508-41C2-8E6A-FABB16B869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0888" y="15081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4" name="Freeform 103">
              <a:extLst>
                <a:ext uri="{FF2B5EF4-FFF2-40B4-BE49-F238E27FC236}">
                  <a16:creationId xmlns:a16="http://schemas.microsoft.com/office/drawing/2014/main" id="{9CEFBBFC-8EB2-4629-AA8D-883C43C16151}"/>
                </a:ext>
              </a:extLst>
            </p:cNvPr>
            <p:cNvSpPr>
              <a:spLocks/>
            </p:cNvSpPr>
            <p:nvPr/>
          </p:nvSpPr>
          <p:spPr bwMode="auto">
            <a:xfrm>
              <a:off x="7259638" y="1647826"/>
              <a:ext cx="379413" cy="381000"/>
            </a:xfrm>
            <a:custGeom>
              <a:avLst/>
              <a:gdLst>
                <a:gd name="T0" fmla="*/ 239 w 239"/>
                <a:gd name="T1" fmla="*/ 240 h 240"/>
                <a:gd name="T2" fmla="*/ 239 w 239"/>
                <a:gd name="T3" fmla="*/ 56 h 240"/>
                <a:gd name="T4" fmla="*/ 116 w 239"/>
                <a:gd name="T5" fmla="*/ 0 h 240"/>
                <a:gd name="T6" fmla="*/ 0 w 239"/>
                <a:gd name="T7" fmla="*/ 56 h 240"/>
                <a:gd name="T8" fmla="*/ 0 w 239"/>
                <a:gd name="T9" fmla="*/ 240 h 240"/>
                <a:gd name="T10" fmla="*/ 239 w 239"/>
                <a:gd name="T11" fmla="*/ 240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240">
                  <a:moveTo>
                    <a:pt x="239" y="240"/>
                  </a:moveTo>
                  <a:lnTo>
                    <a:pt x="239" y="56"/>
                  </a:lnTo>
                  <a:lnTo>
                    <a:pt x="116" y="0"/>
                  </a:lnTo>
                  <a:lnTo>
                    <a:pt x="0" y="56"/>
                  </a:lnTo>
                  <a:lnTo>
                    <a:pt x="0" y="240"/>
                  </a:lnTo>
                  <a:lnTo>
                    <a:pt x="239" y="240"/>
                  </a:lnTo>
                  <a:close/>
                </a:path>
              </a:pathLst>
            </a:cu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5" name="Rectangle 104">
              <a:extLst>
                <a:ext uri="{FF2B5EF4-FFF2-40B4-BE49-F238E27FC236}">
                  <a16:creationId xmlns:a16="http://schemas.microsoft.com/office/drawing/2014/main" id="{7723F43E-1FCF-47B5-A9B3-0A0C9D6283F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6" name="Rectangle 105">
              <a:extLst>
                <a:ext uri="{FF2B5EF4-FFF2-40B4-BE49-F238E27FC236}">
                  <a16:creationId xmlns:a16="http://schemas.microsoft.com/office/drawing/2014/main" id="{7F2C89B9-428E-4954-8E97-D6FEC4E075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1955801"/>
              <a:ext cx="61913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7" name="Rectangle 106">
              <a:extLst>
                <a:ext uri="{FF2B5EF4-FFF2-40B4-BE49-F238E27FC236}">
                  <a16:creationId xmlns:a16="http://schemas.microsoft.com/office/drawing/2014/main" id="{293E0ECF-CE7D-4745-A801-72F337E6236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8" name="Rectangle 107">
              <a:extLst>
                <a:ext uri="{FF2B5EF4-FFF2-40B4-BE49-F238E27FC236}">
                  <a16:creationId xmlns:a16="http://schemas.microsoft.com/office/drawing/2014/main" id="{E35B420E-EB5C-4F7E-ABEA-E3D02271C42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871663"/>
              <a:ext cx="60325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49" name="Rectangle 108">
              <a:extLst>
                <a:ext uri="{FF2B5EF4-FFF2-40B4-BE49-F238E27FC236}">
                  <a16:creationId xmlns:a16="http://schemas.microsoft.com/office/drawing/2014/main" id="{09CE5C62-6730-486F-B31F-D82E037460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871663"/>
              <a:ext cx="60325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0" name="Rectangle 109">
              <a:extLst>
                <a:ext uri="{FF2B5EF4-FFF2-40B4-BE49-F238E27FC236}">
                  <a16:creationId xmlns:a16="http://schemas.microsoft.com/office/drawing/2014/main" id="{C301A1C6-73DC-4B94-BBDE-C50DBC86072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56488" y="1871663"/>
              <a:ext cx="61913" cy="53975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1" name="Rectangle 110">
              <a:extLst>
                <a:ext uri="{FF2B5EF4-FFF2-40B4-BE49-F238E27FC236}">
                  <a16:creationId xmlns:a16="http://schemas.microsoft.com/office/drawing/2014/main" id="{CC890590-0694-4CA3-A52D-0BDCB11F7E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72350" y="17907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2" name="Rectangle 111">
              <a:extLst>
                <a:ext uri="{FF2B5EF4-FFF2-40B4-BE49-F238E27FC236}">
                  <a16:creationId xmlns:a16="http://schemas.microsoft.com/office/drawing/2014/main" id="{B4A6655B-EABA-4833-94BB-C87B6F3208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88213" y="17907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3" name="Rectangle 112">
              <a:extLst>
                <a:ext uri="{FF2B5EF4-FFF2-40B4-BE49-F238E27FC236}">
                  <a16:creationId xmlns:a16="http://schemas.microsoft.com/office/drawing/2014/main" id="{66E16A20-247F-4ED4-85D7-B9902F062B5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42213" y="1955801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0A10B45F-F09C-4AC5-BEF6-3F8C5E18BAB4}"/>
              </a:ext>
            </a:extLst>
          </p:cNvPr>
          <p:cNvSpPr txBox="1"/>
          <p:nvPr/>
        </p:nvSpPr>
        <p:spPr>
          <a:xfrm>
            <a:off x="2238557" y="2961577"/>
            <a:ext cx="934054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reight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orwarder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D41A756B-0629-4FB2-8FE8-E31EEDAB8D5F}"/>
              </a:ext>
            </a:extLst>
          </p:cNvPr>
          <p:cNvGrpSpPr/>
          <p:nvPr/>
        </p:nvGrpSpPr>
        <p:grpSpPr>
          <a:xfrm>
            <a:off x="6282287" y="2165516"/>
            <a:ext cx="701675" cy="703263"/>
            <a:chOff x="10671175" y="1514476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56" name="Oval 16">
              <a:extLst>
                <a:ext uri="{FF2B5EF4-FFF2-40B4-BE49-F238E27FC236}">
                  <a16:creationId xmlns:a16="http://schemas.microsoft.com/office/drawing/2014/main" id="{ABC8F694-A987-4F46-A54F-642BEA17D75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1175" y="1514476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57" name="Freeform 72">
              <a:extLst>
                <a:ext uri="{FF2B5EF4-FFF2-40B4-BE49-F238E27FC236}">
                  <a16:creationId xmlns:a16="http://schemas.microsoft.com/office/drawing/2014/main" id="{E9A45749-3CD2-424A-AB87-C388C5265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8813" y="1690688"/>
              <a:ext cx="404813" cy="342900"/>
            </a:xfrm>
            <a:custGeom>
              <a:avLst/>
              <a:gdLst>
                <a:gd name="T0" fmla="*/ 248 w 254"/>
                <a:gd name="T1" fmla="*/ 13 h 215"/>
                <a:gd name="T2" fmla="*/ 224 w 254"/>
                <a:gd name="T3" fmla="*/ 2 h 215"/>
                <a:gd name="T4" fmla="*/ 196 w 254"/>
                <a:gd name="T5" fmla="*/ 12 h 215"/>
                <a:gd name="T6" fmla="*/ 155 w 254"/>
                <a:gd name="T7" fmla="*/ 43 h 215"/>
                <a:gd name="T8" fmla="*/ 137 w 254"/>
                <a:gd name="T9" fmla="*/ 34 h 215"/>
                <a:gd name="T10" fmla="*/ 137 w 254"/>
                <a:gd name="T11" fmla="*/ 25 h 215"/>
                <a:gd name="T12" fmla="*/ 127 w 254"/>
                <a:gd name="T13" fmla="*/ 24 h 215"/>
                <a:gd name="T14" fmla="*/ 122 w 254"/>
                <a:gd name="T15" fmla="*/ 28 h 215"/>
                <a:gd name="T16" fmla="*/ 106 w 254"/>
                <a:gd name="T17" fmla="*/ 21 h 215"/>
                <a:gd name="T18" fmla="*/ 106 w 254"/>
                <a:gd name="T19" fmla="*/ 13 h 215"/>
                <a:gd name="T20" fmla="*/ 96 w 254"/>
                <a:gd name="T21" fmla="*/ 11 h 215"/>
                <a:gd name="T22" fmla="*/ 91 w 254"/>
                <a:gd name="T23" fmla="*/ 15 h 215"/>
                <a:gd name="T24" fmla="*/ 59 w 254"/>
                <a:gd name="T25" fmla="*/ 1 h 215"/>
                <a:gd name="T26" fmla="*/ 55 w 254"/>
                <a:gd name="T27" fmla="*/ 1 h 215"/>
                <a:gd name="T28" fmla="*/ 37 w 254"/>
                <a:gd name="T29" fmla="*/ 14 h 215"/>
                <a:gd name="T30" fmla="*/ 35 w 254"/>
                <a:gd name="T31" fmla="*/ 18 h 215"/>
                <a:gd name="T32" fmla="*/ 36 w 254"/>
                <a:gd name="T33" fmla="*/ 21 h 215"/>
                <a:gd name="T34" fmla="*/ 37 w 254"/>
                <a:gd name="T35" fmla="*/ 22 h 215"/>
                <a:gd name="T36" fmla="*/ 112 w 254"/>
                <a:gd name="T37" fmla="*/ 75 h 215"/>
                <a:gd name="T38" fmla="*/ 57 w 254"/>
                <a:gd name="T39" fmla="*/ 124 h 215"/>
                <a:gd name="T40" fmla="*/ 47 w 254"/>
                <a:gd name="T41" fmla="*/ 131 h 215"/>
                <a:gd name="T42" fmla="*/ 45 w 254"/>
                <a:gd name="T43" fmla="*/ 133 h 215"/>
                <a:gd name="T44" fmla="*/ 13 w 254"/>
                <a:gd name="T45" fmla="*/ 128 h 215"/>
                <a:gd name="T46" fmla="*/ 10 w 254"/>
                <a:gd name="T47" fmla="*/ 129 h 215"/>
                <a:gd name="T48" fmla="*/ 2 w 254"/>
                <a:gd name="T49" fmla="*/ 135 h 215"/>
                <a:gd name="T50" fmla="*/ 2 w 254"/>
                <a:gd name="T51" fmla="*/ 140 h 215"/>
                <a:gd name="T52" fmla="*/ 56 w 254"/>
                <a:gd name="T53" fmla="*/ 213 h 215"/>
                <a:gd name="T54" fmla="*/ 61 w 254"/>
                <a:gd name="T55" fmla="*/ 214 h 215"/>
                <a:gd name="T56" fmla="*/ 69 w 254"/>
                <a:gd name="T57" fmla="*/ 208 h 215"/>
                <a:gd name="T58" fmla="*/ 70 w 254"/>
                <a:gd name="T59" fmla="*/ 206 h 215"/>
                <a:gd name="T60" fmla="*/ 75 w 254"/>
                <a:gd name="T61" fmla="*/ 174 h 215"/>
                <a:gd name="T62" fmla="*/ 102 w 254"/>
                <a:gd name="T63" fmla="*/ 154 h 215"/>
                <a:gd name="T64" fmla="*/ 111 w 254"/>
                <a:gd name="T65" fmla="*/ 147 h 215"/>
                <a:gd name="T66" fmla="*/ 149 w 254"/>
                <a:gd name="T67" fmla="*/ 125 h 215"/>
                <a:gd name="T68" fmla="*/ 178 w 254"/>
                <a:gd name="T69" fmla="*/ 211 h 215"/>
                <a:gd name="T70" fmla="*/ 179 w 254"/>
                <a:gd name="T71" fmla="*/ 213 h 215"/>
                <a:gd name="T72" fmla="*/ 181 w 254"/>
                <a:gd name="T73" fmla="*/ 214 h 215"/>
                <a:gd name="T74" fmla="*/ 185 w 254"/>
                <a:gd name="T75" fmla="*/ 214 h 215"/>
                <a:gd name="T76" fmla="*/ 202 w 254"/>
                <a:gd name="T77" fmla="*/ 201 h 215"/>
                <a:gd name="T78" fmla="*/ 204 w 254"/>
                <a:gd name="T79" fmla="*/ 197 h 215"/>
                <a:gd name="T80" fmla="*/ 200 w 254"/>
                <a:gd name="T81" fmla="*/ 162 h 215"/>
                <a:gd name="T82" fmla="*/ 205 w 254"/>
                <a:gd name="T83" fmla="*/ 158 h 215"/>
                <a:gd name="T84" fmla="*/ 206 w 254"/>
                <a:gd name="T85" fmla="*/ 149 h 215"/>
                <a:gd name="T86" fmla="*/ 198 w 254"/>
                <a:gd name="T87" fmla="*/ 146 h 215"/>
                <a:gd name="T88" fmla="*/ 196 w 254"/>
                <a:gd name="T89" fmla="*/ 129 h 215"/>
                <a:gd name="T90" fmla="*/ 202 w 254"/>
                <a:gd name="T91" fmla="*/ 124 h 215"/>
                <a:gd name="T92" fmla="*/ 203 w 254"/>
                <a:gd name="T93" fmla="*/ 115 h 215"/>
                <a:gd name="T94" fmla="*/ 195 w 254"/>
                <a:gd name="T95" fmla="*/ 113 h 215"/>
                <a:gd name="T96" fmla="*/ 192 w 254"/>
                <a:gd name="T97" fmla="*/ 93 h 215"/>
                <a:gd name="T98" fmla="*/ 233 w 254"/>
                <a:gd name="T99" fmla="*/ 62 h 215"/>
                <a:gd name="T100" fmla="*/ 251 w 254"/>
                <a:gd name="T101" fmla="*/ 38 h 215"/>
                <a:gd name="T102" fmla="*/ 248 w 254"/>
                <a:gd name="T103" fmla="*/ 1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4" h="215">
                  <a:moveTo>
                    <a:pt x="248" y="13"/>
                  </a:moveTo>
                  <a:cubicBezTo>
                    <a:pt x="243" y="6"/>
                    <a:pt x="234" y="2"/>
                    <a:pt x="224" y="2"/>
                  </a:cubicBezTo>
                  <a:cubicBezTo>
                    <a:pt x="215" y="2"/>
                    <a:pt x="205" y="6"/>
                    <a:pt x="196" y="12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9" y="32"/>
                    <a:pt x="139" y="28"/>
                    <a:pt x="137" y="25"/>
                  </a:cubicBezTo>
                  <a:cubicBezTo>
                    <a:pt x="135" y="22"/>
                    <a:pt x="131" y="22"/>
                    <a:pt x="127" y="24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7" y="19"/>
                    <a:pt x="107" y="15"/>
                    <a:pt x="106" y="13"/>
                  </a:cubicBezTo>
                  <a:cubicBezTo>
                    <a:pt x="103" y="10"/>
                    <a:pt x="99" y="9"/>
                    <a:pt x="96" y="11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6" y="1"/>
                    <a:pt x="55" y="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6" y="15"/>
                    <a:pt x="35" y="17"/>
                    <a:pt x="35" y="18"/>
                  </a:cubicBezTo>
                  <a:cubicBezTo>
                    <a:pt x="35" y="19"/>
                    <a:pt x="36" y="20"/>
                    <a:pt x="36" y="21"/>
                  </a:cubicBezTo>
                  <a:cubicBezTo>
                    <a:pt x="37" y="21"/>
                    <a:pt x="37" y="21"/>
                    <a:pt x="37" y="22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57" y="124"/>
                    <a:pt x="57" y="124"/>
                    <a:pt x="57" y="124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2"/>
                    <a:pt x="46" y="132"/>
                    <a:pt x="45" y="133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2" y="128"/>
                    <a:pt x="11" y="128"/>
                    <a:pt x="10" y="129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1" y="136"/>
                    <a:pt x="0" y="138"/>
                    <a:pt x="2" y="140"/>
                  </a:cubicBezTo>
                  <a:cubicBezTo>
                    <a:pt x="56" y="213"/>
                    <a:pt x="56" y="213"/>
                    <a:pt x="56" y="213"/>
                  </a:cubicBezTo>
                  <a:cubicBezTo>
                    <a:pt x="57" y="215"/>
                    <a:pt x="59" y="215"/>
                    <a:pt x="61" y="214"/>
                  </a:cubicBezTo>
                  <a:cubicBezTo>
                    <a:pt x="69" y="208"/>
                    <a:pt x="69" y="208"/>
                    <a:pt x="69" y="208"/>
                  </a:cubicBezTo>
                  <a:cubicBezTo>
                    <a:pt x="70" y="207"/>
                    <a:pt x="70" y="207"/>
                    <a:pt x="70" y="206"/>
                  </a:cubicBezTo>
                  <a:cubicBezTo>
                    <a:pt x="75" y="174"/>
                    <a:pt x="75" y="174"/>
                    <a:pt x="75" y="174"/>
                  </a:cubicBezTo>
                  <a:cubicBezTo>
                    <a:pt x="76" y="173"/>
                    <a:pt x="101" y="154"/>
                    <a:pt x="102" y="154"/>
                  </a:cubicBezTo>
                  <a:cubicBezTo>
                    <a:pt x="111" y="147"/>
                    <a:pt x="111" y="147"/>
                    <a:pt x="111" y="147"/>
                  </a:cubicBezTo>
                  <a:cubicBezTo>
                    <a:pt x="149" y="125"/>
                    <a:pt x="149" y="125"/>
                    <a:pt x="149" y="125"/>
                  </a:cubicBezTo>
                  <a:cubicBezTo>
                    <a:pt x="178" y="211"/>
                    <a:pt x="178" y="211"/>
                    <a:pt x="178" y="211"/>
                  </a:cubicBezTo>
                  <a:cubicBezTo>
                    <a:pt x="178" y="212"/>
                    <a:pt x="178" y="212"/>
                    <a:pt x="179" y="213"/>
                  </a:cubicBezTo>
                  <a:cubicBezTo>
                    <a:pt x="179" y="213"/>
                    <a:pt x="180" y="214"/>
                    <a:pt x="181" y="214"/>
                  </a:cubicBezTo>
                  <a:cubicBezTo>
                    <a:pt x="182" y="215"/>
                    <a:pt x="184" y="215"/>
                    <a:pt x="185" y="214"/>
                  </a:cubicBezTo>
                  <a:cubicBezTo>
                    <a:pt x="202" y="201"/>
                    <a:pt x="202" y="201"/>
                    <a:pt x="202" y="201"/>
                  </a:cubicBezTo>
                  <a:cubicBezTo>
                    <a:pt x="204" y="200"/>
                    <a:pt x="204" y="198"/>
                    <a:pt x="204" y="197"/>
                  </a:cubicBezTo>
                  <a:cubicBezTo>
                    <a:pt x="200" y="162"/>
                    <a:pt x="200" y="162"/>
                    <a:pt x="200" y="162"/>
                  </a:cubicBezTo>
                  <a:cubicBezTo>
                    <a:pt x="205" y="158"/>
                    <a:pt x="205" y="158"/>
                    <a:pt x="205" y="158"/>
                  </a:cubicBezTo>
                  <a:cubicBezTo>
                    <a:pt x="208" y="156"/>
                    <a:pt x="209" y="152"/>
                    <a:pt x="206" y="149"/>
                  </a:cubicBezTo>
                  <a:cubicBezTo>
                    <a:pt x="204" y="146"/>
                    <a:pt x="201" y="145"/>
                    <a:pt x="198" y="146"/>
                  </a:cubicBezTo>
                  <a:cubicBezTo>
                    <a:pt x="196" y="129"/>
                    <a:pt x="196" y="129"/>
                    <a:pt x="196" y="129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5" y="122"/>
                    <a:pt x="206" y="118"/>
                    <a:pt x="203" y="115"/>
                  </a:cubicBezTo>
                  <a:cubicBezTo>
                    <a:pt x="201" y="112"/>
                    <a:pt x="198" y="111"/>
                    <a:pt x="195" y="113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33" y="62"/>
                    <a:pt x="233" y="62"/>
                    <a:pt x="233" y="62"/>
                  </a:cubicBezTo>
                  <a:cubicBezTo>
                    <a:pt x="242" y="56"/>
                    <a:pt x="248" y="48"/>
                    <a:pt x="251" y="38"/>
                  </a:cubicBezTo>
                  <a:cubicBezTo>
                    <a:pt x="254" y="29"/>
                    <a:pt x="253" y="20"/>
                    <a:pt x="248" y="13"/>
                  </a:cubicBez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58" name="TextBox 57">
            <a:extLst>
              <a:ext uri="{FF2B5EF4-FFF2-40B4-BE49-F238E27FC236}">
                <a16:creationId xmlns:a16="http://schemas.microsoft.com/office/drawing/2014/main" id="{D888797B-EDEE-4978-BAC3-47BE868AA187}"/>
              </a:ext>
            </a:extLst>
          </p:cNvPr>
          <p:cNvSpPr txBox="1"/>
          <p:nvPr/>
        </p:nvSpPr>
        <p:spPr>
          <a:xfrm>
            <a:off x="6156561" y="2961577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</a:t>
            </a: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BA084A9-4919-47F9-8AD4-66C02A309AF7}"/>
              </a:ext>
            </a:extLst>
          </p:cNvPr>
          <p:cNvGrpSpPr/>
          <p:nvPr/>
        </p:nvGrpSpPr>
        <p:grpSpPr>
          <a:xfrm>
            <a:off x="4328314" y="2165516"/>
            <a:ext cx="701675" cy="703263"/>
            <a:chOff x="10671175" y="1514476"/>
            <a:chExt cx="701675" cy="703263"/>
          </a:xfrm>
          <a:solidFill>
            <a:schemeClr val="bg1">
              <a:lumMod val="75000"/>
            </a:schemeClr>
          </a:solidFill>
        </p:grpSpPr>
        <p:sp>
          <p:nvSpPr>
            <p:cNvPr id="60" name="Oval 16">
              <a:extLst>
                <a:ext uri="{FF2B5EF4-FFF2-40B4-BE49-F238E27FC236}">
                  <a16:creationId xmlns:a16="http://schemas.microsoft.com/office/drawing/2014/main" id="{5806CBB8-F3C6-4C10-A37F-EE6F3BD339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671175" y="1514476"/>
              <a:ext cx="701675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1" name="Freeform 72">
              <a:extLst>
                <a:ext uri="{FF2B5EF4-FFF2-40B4-BE49-F238E27FC236}">
                  <a16:creationId xmlns:a16="http://schemas.microsoft.com/office/drawing/2014/main" id="{7C3381E9-AC80-4635-9BAB-B8F17FE2209F}"/>
                </a:ext>
              </a:extLst>
            </p:cNvPr>
            <p:cNvSpPr>
              <a:spLocks/>
            </p:cNvSpPr>
            <p:nvPr/>
          </p:nvSpPr>
          <p:spPr bwMode="auto">
            <a:xfrm>
              <a:off x="10818813" y="1690688"/>
              <a:ext cx="404813" cy="342900"/>
            </a:xfrm>
            <a:custGeom>
              <a:avLst/>
              <a:gdLst>
                <a:gd name="T0" fmla="*/ 248 w 254"/>
                <a:gd name="T1" fmla="*/ 13 h 215"/>
                <a:gd name="T2" fmla="*/ 224 w 254"/>
                <a:gd name="T3" fmla="*/ 2 h 215"/>
                <a:gd name="T4" fmla="*/ 196 w 254"/>
                <a:gd name="T5" fmla="*/ 12 h 215"/>
                <a:gd name="T6" fmla="*/ 155 w 254"/>
                <a:gd name="T7" fmla="*/ 43 h 215"/>
                <a:gd name="T8" fmla="*/ 137 w 254"/>
                <a:gd name="T9" fmla="*/ 34 h 215"/>
                <a:gd name="T10" fmla="*/ 137 w 254"/>
                <a:gd name="T11" fmla="*/ 25 h 215"/>
                <a:gd name="T12" fmla="*/ 127 w 254"/>
                <a:gd name="T13" fmla="*/ 24 h 215"/>
                <a:gd name="T14" fmla="*/ 122 w 254"/>
                <a:gd name="T15" fmla="*/ 28 h 215"/>
                <a:gd name="T16" fmla="*/ 106 w 254"/>
                <a:gd name="T17" fmla="*/ 21 h 215"/>
                <a:gd name="T18" fmla="*/ 106 w 254"/>
                <a:gd name="T19" fmla="*/ 13 h 215"/>
                <a:gd name="T20" fmla="*/ 96 w 254"/>
                <a:gd name="T21" fmla="*/ 11 h 215"/>
                <a:gd name="T22" fmla="*/ 91 w 254"/>
                <a:gd name="T23" fmla="*/ 15 h 215"/>
                <a:gd name="T24" fmla="*/ 59 w 254"/>
                <a:gd name="T25" fmla="*/ 1 h 215"/>
                <a:gd name="T26" fmla="*/ 55 w 254"/>
                <a:gd name="T27" fmla="*/ 1 h 215"/>
                <a:gd name="T28" fmla="*/ 37 w 254"/>
                <a:gd name="T29" fmla="*/ 14 h 215"/>
                <a:gd name="T30" fmla="*/ 35 w 254"/>
                <a:gd name="T31" fmla="*/ 18 h 215"/>
                <a:gd name="T32" fmla="*/ 36 w 254"/>
                <a:gd name="T33" fmla="*/ 21 h 215"/>
                <a:gd name="T34" fmla="*/ 37 w 254"/>
                <a:gd name="T35" fmla="*/ 22 h 215"/>
                <a:gd name="T36" fmla="*/ 112 w 254"/>
                <a:gd name="T37" fmla="*/ 75 h 215"/>
                <a:gd name="T38" fmla="*/ 57 w 254"/>
                <a:gd name="T39" fmla="*/ 124 h 215"/>
                <a:gd name="T40" fmla="*/ 47 w 254"/>
                <a:gd name="T41" fmla="*/ 131 h 215"/>
                <a:gd name="T42" fmla="*/ 45 w 254"/>
                <a:gd name="T43" fmla="*/ 133 h 215"/>
                <a:gd name="T44" fmla="*/ 13 w 254"/>
                <a:gd name="T45" fmla="*/ 128 h 215"/>
                <a:gd name="T46" fmla="*/ 10 w 254"/>
                <a:gd name="T47" fmla="*/ 129 h 215"/>
                <a:gd name="T48" fmla="*/ 2 w 254"/>
                <a:gd name="T49" fmla="*/ 135 h 215"/>
                <a:gd name="T50" fmla="*/ 2 w 254"/>
                <a:gd name="T51" fmla="*/ 140 h 215"/>
                <a:gd name="T52" fmla="*/ 56 w 254"/>
                <a:gd name="T53" fmla="*/ 213 h 215"/>
                <a:gd name="T54" fmla="*/ 61 w 254"/>
                <a:gd name="T55" fmla="*/ 214 h 215"/>
                <a:gd name="T56" fmla="*/ 69 w 254"/>
                <a:gd name="T57" fmla="*/ 208 h 215"/>
                <a:gd name="T58" fmla="*/ 70 w 254"/>
                <a:gd name="T59" fmla="*/ 206 h 215"/>
                <a:gd name="T60" fmla="*/ 75 w 254"/>
                <a:gd name="T61" fmla="*/ 174 h 215"/>
                <a:gd name="T62" fmla="*/ 102 w 254"/>
                <a:gd name="T63" fmla="*/ 154 h 215"/>
                <a:gd name="T64" fmla="*/ 111 w 254"/>
                <a:gd name="T65" fmla="*/ 147 h 215"/>
                <a:gd name="T66" fmla="*/ 149 w 254"/>
                <a:gd name="T67" fmla="*/ 125 h 215"/>
                <a:gd name="T68" fmla="*/ 178 w 254"/>
                <a:gd name="T69" fmla="*/ 211 h 215"/>
                <a:gd name="T70" fmla="*/ 179 w 254"/>
                <a:gd name="T71" fmla="*/ 213 h 215"/>
                <a:gd name="T72" fmla="*/ 181 w 254"/>
                <a:gd name="T73" fmla="*/ 214 h 215"/>
                <a:gd name="T74" fmla="*/ 185 w 254"/>
                <a:gd name="T75" fmla="*/ 214 h 215"/>
                <a:gd name="T76" fmla="*/ 202 w 254"/>
                <a:gd name="T77" fmla="*/ 201 h 215"/>
                <a:gd name="T78" fmla="*/ 204 w 254"/>
                <a:gd name="T79" fmla="*/ 197 h 215"/>
                <a:gd name="T80" fmla="*/ 200 w 254"/>
                <a:gd name="T81" fmla="*/ 162 h 215"/>
                <a:gd name="T82" fmla="*/ 205 w 254"/>
                <a:gd name="T83" fmla="*/ 158 h 215"/>
                <a:gd name="T84" fmla="*/ 206 w 254"/>
                <a:gd name="T85" fmla="*/ 149 h 215"/>
                <a:gd name="T86" fmla="*/ 198 w 254"/>
                <a:gd name="T87" fmla="*/ 146 h 215"/>
                <a:gd name="T88" fmla="*/ 196 w 254"/>
                <a:gd name="T89" fmla="*/ 129 h 215"/>
                <a:gd name="T90" fmla="*/ 202 w 254"/>
                <a:gd name="T91" fmla="*/ 124 h 215"/>
                <a:gd name="T92" fmla="*/ 203 w 254"/>
                <a:gd name="T93" fmla="*/ 115 h 215"/>
                <a:gd name="T94" fmla="*/ 195 w 254"/>
                <a:gd name="T95" fmla="*/ 113 h 215"/>
                <a:gd name="T96" fmla="*/ 192 w 254"/>
                <a:gd name="T97" fmla="*/ 93 h 215"/>
                <a:gd name="T98" fmla="*/ 233 w 254"/>
                <a:gd name="T99" fmla="*/ 62 h 215"/>
                <a:gd name="T100" fmla="*/ 251 w 254"/>
                <a:gd name="T101" fmla="*/ 38 h 215"/>
                <a:gd name="T102" fmla="*/ 248 w 254"/>
                <a:gd name="T103" fmla="*/ 13 h 2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54" h="215">
                  <a:moveTo>
                    <a:pt x="248" y="13"/>
                  </a:moveTo>
                  <a:cubicBezTo>
                    <a:pt x="243" y="6"/>
                    <a:pt x="234" y="2"/>
                    <a:pt x="224" y="2"/>
                  </a:cubicBezTo>
                  <a:cubicBezTo>
                    <a:pt x="215" y="2"/>
                    <a:pt x="205" y="6"/>
                    <a:pt x="196" y="12"/>
                  </a:cubicBezTo>
                  <a:cubicBezTo>
                    <a:pt x="155" y="43"/>
                    <a:pt x="155" y="43"/>
                    <a:pt x="155" y="43"/>
                  </a:cubicBezTo>
                  <a:cubicBezTo>
                    <a:pt x="137" y="34"/>
                    <a:pt x="137" y="34"/>
                    <a:pt x="137" y="34"/>
                  </a:cubicBezTo>
                  <a:cubicBezTo>
                    <a:pt x="139" y="32"/>
                    <a:pt x="139" y="28"/>
                    <a:pt x="137" y="25"/>
                  </a:cubicBezTo>
                  <a:cubicBezTo>
                    <a:pt x="135" y="22"/>
                    <a:pt x="131" y="22"/>
                    <a:pt x="127" y="24"/>
                  </a:cubicBezTo>
                  <a:cubicBezTo>
                    <a:pt x="122" y="28"/>
                    <a:pt x="122" y="28"/>
                    <a:pt x="122" y="28"/>
                  </a:cubicBezTo>
                  <a:cubicBezTo>
                    <a:pt x="106" y="21"/>
                    <a:pt x="106" y="21"/>
                    <a:pt x="106" y="21"/>
                  </a:cubicBezTo>
                  <a:cubicBezTo>
                    <a:pt x="107" y="19"/>
                    <a:pt x="107" y="15"/>
                    <a:pt x="106" y="13"/>
                  </a:cubicBezTo>
                  <a:cubicBezTo>
                    <a:pt x="103" y="10"/>
                    <a:pt x="99" y="9"/>
                    <a:pt x="96" y="11"/>
                  </a:cubicBezTo>
                  <a:cubicBezTo>
                    <a:pt x="91" y="15"/>
                    <a:pt x="91" y="15"/>
                    <a:pt x="91" y="15"/>
                  </a:cubicBezTo>
                  <a:cubicBezTo>
                    <a:pt x="59" y="1"/>
                    <a:pt x="59" y="1"/>
                    <a:pt x="59" y="1"/>
                  </a:cubicBezTo>
                  <a:cubicBezTo>
                    <a:pt x="58" y="0"/>
                    <a:pt x="56" y="1"/>
                    <a:pt x="55" y="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36" y="15"/>
                    <a:pt x="35" y="17"/>
                    <a:pt x="35" y="18"/>
                  </a:cubicBezTo>
                  <a:cubicBezTo>
                    <a:pt x="35" y="19"/>
                    <a:pt x="36" y="20"/>
                    <a:pt x="36" y="21"/>
                  </a:cubicBezTo>
                  <a:cubicBezTo>
                    <a:pt x="37" y="21"/>
                    <a:pt x="37" y="21"/>
                    <a:pt x="37" y="22"/>
                  </a:cubicBezTo>
                  <a:cubicBezTo>
                    <a:pt x="112" y="75"/>
                    <a:pt x="112" y="75"/>
                    <a:pt x="112" y="75"/>
                  </a:cubicBezTo>
                  <a:cubicBezTo>
                    <a:pt x="57" y="124"/>
                    <a:pt x="57" y="124"/>
                    <a:pt x="57" y="124"/>
                  </a:cubicBezTo>
                  <a:cubicBezTo>
                    <a:pt x="47" y="131"/>
                    <a:pt x="47" y="131"/>
                    <a:pt x="47" y="131"/>
                  </a:cubicBezTo>
                  <a:cubicBezTo>
                    <a:pt x="47" y="132"/>
                    <a:pt x="46" y="132"/>
                    <a:pt x="45" y="133"/>
                  </a:cubicBezTo>
                  <a:cubicBezTo>
                    <a:pt x="13" y="128"/>
                    <a:pt x="13" y="128"/>
                    <a:pt x="13" y="128"/>
                  </a:cubicBezTo>
                  <a:cubicBezTo>
                    <a:pt x="12" y="128"/>
                    <a:pt x="11" y="128"/>
                    <a:pt x="10" y="129"/>
                  </a:cubicBezTo>
                  <a:cubicBezTo>
                    <a:pt x="2" y="135"/>
                    <a:pt x="2" y="135"/>
                    <a:pt x="2" y="135"/>
                  </a:cubicBezTo>
                  <a:cubicBezTo>
                    <a:pt x="1" y="136"/>
                    <a:pt x="0" y="138"/>
                    <a:pt x="2" y="140"/>
                  </a:cubicBezTo>
                  <a:cubicBezTo>
                    <a:pt x="56" y="213"/>
                    <a:pt x="56" y="213"/>
                    <a:pt x="56" y="213"/>
                  </a:cubicBezTo>
                  <a:cubicBezTo>
                    <a:pt x="57" y="215"/>
                    <a:pt x="59" y="215"/>
                    <a:pt x="61" y="214"/>
                  </a:cubicBezTo>
                  <a:cubicBezTo>
                    <a:pt x="69" y="208"/>
                    <a:pt x="69" y="208"/>
                    <a:pt x="69" y="208"/>
                  </a:cubicBezTo>
                  <a:cubicBezTo>
                    <a:pt x="70" y="207"/>
                    <a:pt x="70" y="207"/>
                    <a:pt x="70" y="206"/>
                  </a:cubicBezTo>
                  <a:cubicBezTo>
                    <a:pt x="75" y="174"/>
                    <a:pt x="75" y="174"/>
                    <a:pt x="75" y="174"/>
                  </a:cubicBezTo>
                  <a:cubicBezTo>
                    <a:pt x="76" y="173"/>
                    <a:pt x="101" y="154"/>
                    <a:pt x="102" y="154"/>
                  </a:cubicBezTo>
                  <a:cubicBezTo>
                    <a:pt x="111" y="147"/>
                    <a:pt x="111" y="147"/>
                    <a:pt x="111" y="147"/>
                  </a:cubicBezTo>
                  <a:cubicBezTo>
                    <a:pt x="149" y="125"/>
                    <a:pt x="149" y="125"/>
                    <a:pt x="149" y="125"/>
                  </a:cubicBezTo>
                  <a:cubicBezTo>
                    <a:pt x="178" y="211"/>
                    <a:pt x="178" y="211"/>
                    <a:pt x="178" y="211"/>
                  </a:cubicBezTo>
                  <a:cubicBezTo>
                    <a:pt x="178" y="212"/>
                    <a:pt x="178" y="212"/>
                    <a:pt x="179" y="213"/>
                  </a:cubicBezTo>
                  <a:cubicBezTo>
                    <a:pt x="179" y="213"/>
                    <a:pt x="180" y="214"/>
                    <a:pt x="181" y="214"/>
                  </a:cubicBezTo>
                  <a:cubicBezTo>
                    <a:pt x="182" y="215"/>
                    <a:pt x="184" y="215"/>
                    <a:pt x="185" y="214"/>
                  </a:cubicBezTo>
                  <a:cubicBezTo>
                    <a:pt x="202" y="201"/>
                    <a:pt x="202" y="201"/>
                    <a:pt x="202" y="201"/>
                  </a:cubicBezTo>
                  <a:cubicBezTo>
                    <a:pt x="204" y="200"/>
                    <a:pt x="204" y="198"/>
                    <a:pt x="204" y="197"/>
                  </a:cubicBezTo>
                  <a:cubicBezTo>
                    <a:pt x="200" y="162"/>
                    <a:pt x="200" y="162"/>
                    <a:pt x="200" y="162"/>
                  </a:cubicBezTo>
                  <a:cubicBezTo>
                    <a:pt x="205" y="158"/>
                    <a:pt x="205" y="158"/>
                    <a:pt x="205" y="158"/>
                  </a:cubicBezTo>
                  <a:cubicBezTo>
                    <a:pt x="208" y="156"/>
                    <a:pt x="209" y="152"/>
                    <a:pt x="206" y="149"/>
                  </a:cubicBezTo>
                  <a:cubicBezTo>
                    <a:pt x="204" y="146"/>
                    <a:pt x="201" y="145"/>
                    <a:pt x="198" y="146"/>
                  </a:cubicBezTo>
                  <a:cubicBezTo>
                    <a:pt x="196" y="129"/>
                    <a:pt x="196" y="129"/>
                    <a:pt x="196" y="129"/>
                  </a:cubicBezTo>
                  <a:cubicBezTo>
                    <a:pt x="202" y="124"/>
                    <a:pt x="202" y="124"/>
                    <a:pt x="202" y="124"/>
                  </a:cubicBezTo>
                  <a:cubicBezTo>
                    <a:pt x="205" y="122"/>
                    <a:pt x="206" y="118"/>
                    <a:pt x="203" y="115"/>
                  </a:cubicBezTo>
                  <a:cubicBezTo>
                    <a:pt x="201" y="112"/>
                    <a:pt x="198" y="111"/>
                    <a:pt x="195" y="113"/>
                  </a:cubicBezTo>
                  <a:cubicBezTo>
                    <a:pt x="192" y="93"/>
                    <a:pt x="192" y="93"/>
                    <a:pt x="192" y="93"/>
                  </a:cubicBezTo>
                  <a:cubicBezTo>
                    <a:pt x="233" y="62"/>
                    <a:pt x="233" y="62"/>
                    <a:pt x="233" y="62"/>
                  </a:cubicBezTo>
                  <a:cubicBezTo>
                    <a:pt x="242" y="56"/>
                    <a:pt x="248" y="48"/>
                    <a:pt x="251" y="38"/>
                  </a:cubicBezTo>
                  <a:cubicBezTo>
                    <a:pt x="254" y="29"/>
                    <a:pt x="253" y="20"/>
                    <a:pt x="248" y="13"/>
                  </a:cubicBez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62" name="TextBox 61">
            <a:extLst>
              <a:ext uri="{FF2B5EF4-FFF2-40B4-BE49-F238E27FC236}">
                <a16:creationId xmlns:a16="http://schemas.microsoft.com/office/drawing/2014/main" id="{36DE1F0A-79D8-4DA9-8BE8-1F03B89FAACA}"/>
              </a:ext>
            </a:extLst>
          </p:cNvPr>
          <p:cNvSpPr txBox="1"/>
          <p:nvPr/>
        </p:nvSpPr>
        <p:spPr>
          <a:xfrm>
            <a:off x="4201272" y="2952069"/>
            <a:ext cx="934054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</a:t>
            </a:r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BDA57E02-5B4D-4503-B3A9-F30B80AFEB85}"/>
              </a:ext>
            </a:extLst>
          </p:cNvPr>
          <p:cNvGrpSpPr/>
          <p:nvPr/>
        </p:nvGrpSpPr>
        <p:grpSpPr>
          <a:xfrm>
            <a:off x="5342157" y="2165516"/>
            <a:ext cx="703263" cy="703263"/>
            <a:chOff x="8885238" y="15208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64" name="Oval 14">
              <a:extLst>
                <a:ext uri="{FF2B5EF4-FFF2-40B4-BE49-F238E27FC236}">
                  <a16:creationId xmlns:a16="http://schemas.microsoft.com/office/drawing/2014/main" id="{F008F643-EB6F-4F3C-992C-6FFD78B0D9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885238" y="15208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5" name="Line 51">
              <a:extLst>
                <a:ext uri="{FF2B5EF4-FFF2-40B4-BE49-F238E27FC236}">
                  <a16:creationId xmlns:a16="http://schemas.microsoft.com/office/drawing/2014/main" id="{2C5DD14D-24EA-498A-AE18-07CBAAF6169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9148763" y="1997076"/>
              <a:ext cx="7620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6" name="Line 52">
              <a:extLst>
                <a:ext uri="{FF2B5EF4-FFF2-40B4-BE49-F238E27FC236}">
                  <a16:creationId xmlns:a16="http://schemas.microsoft.com/office/drawing/2014/main" id="{4E99D413-87B5-4BE3-BFBA-5FC508A019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271000" y="19970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7" name="Freeform 53">
              <a:extLst>
                <a:ext uri="{FF2B5EF4-FFF2-40B4-BE49-F238E27FC236}">
                  <a16:creationId xmlns:a16="http://schemas.microsoft.com/office/drawing/2014/main" id="{7A925864-A060-4537-BE38-4C5848F9C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0650" y="16827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3 h 198"/>
                <a:gd name="T6" fmla="*/ 30 w 221"/>
                <a:gd name="T7" fmla="*/ 103 h 198"/>
                <a:gd name="T8" fmla="*/ 31 w 221"/>
                <a:gd name="T9" fmla="*/ 0 h 198"/>
                <a:gd name="T10" fmla="*/ 129 w 221"/>
                <a:gd name="T11" fmla="*/ 0 h 198"/>
                <a:gd name="T12" fmla="*/ 177 w 221"/>
                <a:gd name="T13" fmla="*/ 136 h 198"/>
                <a:gd name="T14" fmla="*/ 202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3"/>
                  </a:lnTo>
                  <a:lnTo>
                    <a:pt x="30" y="103"/>
                  </a:lnTo>
                  <a:lnTo>
                    <a:pt x="31" y="0"/>
                  </a:lnTo>
                  <a:lnTo>
                    <a:pt x="129" y="0"/>
                  </a:lnTo>
                  <a:lnTo>
                    <a:pt x="177" y="136"/>
                  </a:lnTo>
                  <a:lnTo>
                    <a:pt x="202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8" name="Freeform 54">
              <a:extLst>
                <a:ext uri="{FF2B5EF4-FFF2-40B4-BE49-F238E27FC236}">
                  <a16:creationId xmlns:a16="http://schemas.microsoft.com/office/drawing/2014/main" id="{2D90CD0F-EF2F-4E28-8103-47E5C84FCF2B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0025" y="1714501"/>
              <a:ext cx="168275" cy="184150"/>
            </a:xfrm>
            <a:custGeom>
              <a:avLst/>
              <a:gdLst>
                <a:gd name="T0" fmla="*/ 0 w 106"/>
                <a:gd name="T1" fmla="*/ 0 h 116"/>
                <a:gd name="T2" fmla="*/ 65 w 106"/>
                <a:gd name="T3" fmla="*/ 0 h 116"/>
                <a:gd name="T4" fmla="*/ 106 w 106"/>
                <a:gd name="T5" fmla="*/ 116 h 116"/>
                <a:gd name="T6" fmla="*/ 62 w 106"/>
                <a:gd name="T7" fmla="*/ 116 h 116"/>
                <a:gd name="T8" fmla="*/ 42 w 106"/>
                <a:gd name="T9" fmla="*/ 81 h 116"/>
                <a:gd name="T10" fmla="*/ 0 w 106"/>
                <a:gd name="T11" fmla="*/ 81 h 116"/>
                <a:gd name="T12" fmla="*/ 0 w 106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6" h="116">
                  <a:moveTo>
                    <a:pt x="0" y="0"/>
                  </a:moveTo>
                  <a:lnTo>
                    <a:pt x="65" y="0"/>
                  </a:lnTo>
                  <a:lnTo>
                    <a:pt x="106" y="116"/>
                  </a:lnTo>
                  <a:lnTo>
                    <a:pt x="62" y="116"/>
                  </a:lnTo>
                  <a:lnTo>
                    <a:pt x="42" y="81"/>
                  </a:lnTo>
                  <a:lnTo>
                    <a:pt x="0" y="8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69" name="Freeform 55">
              <a:extLst>
                <a:ext uri="{FF2B5EF4-FFF2-40B4-BE49-F238E27FC236}">
                  <a16:creationId xmlns:a16="http://schemas.microsoft.com/office/drawing/2014/main" id="{5B35CE57-F374-462B-B890-BE5BCC0E1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2113" y="1697038"/>
              <a:ext cx="230188" cy="296863"/>
            </a:xfrm>
            <a:custGeom>
              <a:avLst/>
              <a:gdLst>
                <a:gd name="T0" fmla="*/ 0 w 145"/>
                <a:gd name="T1" fmla="*/ 0 h 187"/>
                <a:gd name="T2" fmla="*/ 63 w 145"/>
                <a:gd name="T3" fmla="*/ 187 h 187"/>
                <a:gd name="T4" fmla="*/ 145 w 145"/>
                <a:gd name="T5" fmla="*/ 162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5" h="187">
                  <a:moveTo>
                    <a:pt x="0" y="0"/>
                  </a:moveTo>
                  <a:lnTo>
                    <a:pt x="63" y="187"/>
                  </a:lnTo>
                  <a:lnTo>
                    <a:pt x="145" y="162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0" name="Oval 56">
              <a:extLst>
                <a:ext uri="{FF2B5EF4-FFF2-40B4-BE49-F238E27FC236}">
                  <a16:creationId xmlns:a16="http://schemas.microsoft.com/office/drawing/2014/main" id="{CF11B730-9E1D-41D3-AF00-1642D439826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75738" y="1970088"/>
              <a:ext cx="69850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1" name="Oval 57">
              <a:extLst>
                <a:ext uri="{FF2B5EF4-FFF2-40B4-BE49-F238E27FC236}">
                  <a16:creationId xmlns:a16="http://schemas.microsoft.com/office/drawing/2014/main" id="{7CA481B7-FAEE-48E0-8AFB-A30795E915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26550" y="19700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id="{0292CED4-9246-418E-A07F-99BAA1B4B7AF}"/>
              </a:ext>
            </a:extLst>
          </p:cNvPr>
          <p:cNvSpPr txBox="1"/>
          <p:nvPr/>
        </p:nvSpPr>
        <p:spPr>
          <a:xfrm>
            <a:off x="5216670" y="2936537"/>
            <a:ext cx="933848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845DF45-C20D-4FFC-8D4F-BE5C01F05B7E}"/>
              </a:ext>
            </a:extLst>
          </p:cNvPr>
          <p:cNvGrpSpPr/>
          <p:nvPr/>
        </p:nvGrpSpPr>
        <p:grpSpPr>
          <a:xfrm>
            <a:off x="7246842" y="2165516"/>
            <a:ext cx="703263" cy="703263"/>
            <a:chOff x="7085013" y="3121026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74" name="Oval 8">
              <a:extLst>
                <a:ext uri="{FF2B5EF4-FFF2-40B4-BE49-F238E27FC236}">
                  <a16:creationId xmlns:a16="http://schemas.microsoft.com/office/drawing/2014/main" id="{9300FED1-8D12-4984-A060-90BB33F6C8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085013" y="3121026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5" name="Line 58">
              <a:extLst>
                <a:ext uri="{FF2B5EF4-FFF2-40B4-BE49-F238E27FC236}">
                  <a16:creationId xmlns:a16="http://schemas.microsoft.com/office/drawing/2014/main" id="{00D7E20B-D6A9-4B65-B636-64AB2703FD81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348538" y="3597276"/>
              <a:ext cx="73025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6" name="Line 59">
              <a:extLst>
                <a:ext uri="{FF2B5EF4-FFF2-40B4-BE49-F238E27FC236}">
                  <a16:creationId xmlns:a16="http://schemas.microsoft.com/office/drawing/2014/main" id="{A6607D65-6980-4ED0-9A9B-C308353CDBE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69188" y="3597276"/>
              <a:ext cx="0" cy="0"/>
            </a:xfrm>
            <a:prstGeom prst="lin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7" name="Freeform 60">
              <a:extLst>
                <a:ext uri="{FF2B5EF4-FFF2-40B4-BE49-F238E27FC236}">
                  <a16:creationId xmlns:a16="http://schemas.microsoft.com/office/drawing/2014/main" id="{6DB41175-6009-4FC9-A669-699A9BD648CF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0425" y="3282951"/>
              <a:ext cx="350838" cy="314325"/>
            </a:xfrm>
            <a:custGeom>
              <a:avLst/>
              <a:gdLst>
                <a:gd name="T0" fmla="*/ 39 w 221"/>
                <a:gd name="T1" fmla="*/ 198 h 198"/>
                <a:gd name="T2" fmla="*/ 0 w 221"/>
                <a:gd name="T3" fmla="*/ 198 h 198"/>
                <a:gd name="T4" fmla="*/ 13 w 221"/>
                <a:gd name="T5" fmla="*/ 104 h 198"/>
                <a:gd name="T6" fmla="*/ 30 w 221"/>
                <a:gd name="T7" fmla="*/ 104 h 198"/>
                <a:gd name="T8" fmla="*/ 30 w 221"/>
                <a:gd name="T9" fmla="*/ 0 h 198"/>
                <a:gd name="T10" fmla="*/ 128 w 221"/>
                <a:gd name="T11" fmla="*/ 0 h 198"/>
                <a:gd name="T12" fmla="*/ 177 w 221"/>
                <a:gd name="T13" fmla="*/ 136 h 198"/>
                <a:gd name="T14" fmla="*/ 201 w 221"/>
                <a:gd name="T15" fmla="*/ 136 h 198"/>
                <a:gd name="T16" fmla="*/ 221 w 221"/>
                <a:gd name="T17" fmla="*/ 198 h 198"/>
                <a:gd name="T18" fmla="*/ 190 w 221"/>
                <a:gd name="T19" fmla="*/ 198 h 198"/>
                <a:gd name="T20" fmla="*/ 182 w 221"/>
                <a:gd name="T21" fmla="*/ 198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21" h="198">
                  <a:moveTo>
                    <a:pt x="39" y="198"/>
                  </a:moveTo>
                  <a:lnTo>
                    <a:pt x="0" y="198"/>
                  </a:lnTo>
                  <a:lnTo>
                    <a:pt x="13" y="104"/>
                  </a:lnTo>
                  <a:lnTo>
                    <a:pt x="30" y="104"/>
                  </a:lnTo>
                  <a:lnTo>
                    <a:pt x="30" y="0"/>
                  </a:lnTo>
                  <a:lnTo>
                    <a:pt x="128" y="0"/>
                  </a:lnTo>
                  <a:lnTo>
                    <a:pt x="177" y="136"/>
                  </a:lnTo>
                  <a:lnTo>
                    <a:pt x="201" y="136"/>
                  </a:lnTo>
                  <a:lnTo>
                    <a:pt x="221" y="198"/>
                  </a:lnTo>
                  <a:lnTo>
                    <a:pt x="190" y="198"/>
                  </a:lnTo>
                  <a:lnTo>
                    <a:pt x="182" y="198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8" name="Freeform 61">
              <a:extLst>
                <a:ext uri="{FF2B5EF4-FFF2-40B4-BE49-F238E27FC236}">
                  <a16:creationId xmlns:a16="http://schemas.microsoft.com/office/drawing/2014/main" id="{19C1D6E6-907F-47CC-8F35-A316FD28C098}"/>
                </a:ext>
              </a:extLst>
            </p:cNvPr>
            <p:cNvSpPr>
              <a:spLocks/>
            </p:cNvSpPr>
            <p:nvPr/>
          </p:nvSpPr>
          <p:spPr bwMode="auto">
            <a:xfrm>
              <a:off x="7289800" y="3314701"/>
              <a:ext cx="166688" cy="184150"/>
            </a:xfrm>
            <a:custGeom>
              <a:avLst/>
              <a:gdLst>
                <a:gd name="T0" fmla="*/ 0 w 105"/>
                <a:gd name="T1" fmla="*/ 0 h 116"/>
                <a:gd name="T2" fmla="*/ 64 w 105"/>
                <a:gd name="T3" fmla="*/ 0 h 116"/>
                <a:gd name="T4" fmla="*/ 105 w 105"/>
                <a:gd name="T5" fmla="*/ 116 h 116"/>
                <a:gd name="T6" fmla="*/ 61 w 105"/>
                <a:gd name="T7" fmla="*/ 116 h 116"/>
                <a:gd name="T8" fmla="*/ 42 w 105"/>
                <a:gd name="T9" fmla="*/ 82 h 116"/>
                <a:gd name="T10" fmla="*/ 0 w 105"/>
                <a:gd name="T11" fmla="*/ 82 h 116"/>
                <a:gd name="T12" fmla="*/ 0 w 105"/>
                <a:gd name="T13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5" h="116">
                  <a:moveTo>
                    <a:pt x="0" y="0"/>
                  </a:moveTo>
                  <a:lnTo>
                    <a:pt x="64" y="0"/>
                  </a:lnTo>
                  <a:lnTo>
                    <a:pt x="105" y="116"/>
                  </a:lnTo>
                  <a:lnTo>
                    <a:pt x="61" y="116"/>
                  </a:lnTo>
                  <a:lnTo>
                    <a:pt x="42" y="82"/>
                  </a:lnTo>
                  <a:lnTo>
                    <a:pt x="0" y="8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E221A362-5C56-46E1-BBA3-6D114616F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7481888" y="3297238"/>
              <a:ext cx="227013" cy="296863"/>
            </a:xfrm>
            <a:custGeom>
              <a:avLst/>
              <a:gdLst>
                <a:gd name="T0" fmla="*/ 0 w 143"/>
                <a:gd name="T1" fmla="*/ 0 h 187"/>
                <a:gd name="T2" fmla="*/ 62 w 143"/>
                <a:gd name="T3" fmla="*/ 187 h 187"/>
                <a:gd name="T4" fmla="*/ 143 w 143"/>
                <a:gd name="T5" fmla="*/ 16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3" h="187">
                  <a:moveTo>
                    <a:pt x="0" y="0"/>
                  </a:moveTo>
                  <a:lnTo>
                    <a:pt x="62" y="187"/>
                  </a:lnTo>
                  <a:lnTo>
                    <a:pt x="143" y="163"/>
                  </a:lnTo>
                </a:path>
              </a:pathLst>
            </a:cu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0" name="Oval 63">
              <a:extLst>
                <a:ext uri="{FF2B5EF4-FFF2-40B4-BE49-F238E27FC236}">
                  <a16:creationId xmlns:a16="http://schemas.microsoft.com/office/drawing/2014/main" id="{86B779A9-C254-4E1C-AE8D-0565A5BEA0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73925" y="35702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1" name="Oval 64">
              <a:extLst>
                <a:ext uri="{FF2B5EF4-FFF2-40B4-BE49-F238E27FC236}">
                  <a16:creationId xmlns:a16="http://schemas.microsoft.com/office/drawing/2014/main" id="{D551F2A1-1F13-4506-96E4-2F39CA38B9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24738" y="3570288"/>
              <a:ext cx="71438" cy="69850"/>
            </a:xfrm>
            <a:prstGeom prst="ellipse">
              <a:avLst/>
            </a:prstGeom>
            <a:grpFill/>
            <a:ln w="1428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82" name="TextBox 81">
            <a:extLst>
              <a:ext uri="{FF2B5EF4-FFF2-40B4-BE49-F238E27FC236}">
                <a16:creationId xmlns:a16="http://schemas.microsoft.com/office/drawing/2014/main" id="{70EBAD6B-7563-4D30-99DD-C6F6F2F64934}"/>
              </a:ext>
            </a:extLst>
          </p:cNvPr>
          <p:cNvSpPr txBox="1"/>
          <p:nvPr/>
        </p:nvSpPr>
        <p:spPr>
          <a:xfrm>
            <a:off x="7122671" y="2930050"/>
            <a:ext cx="934054" cy="2585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Airline Cargo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handler</a:t>
            </a:r>
          </a:p>
        </p:txBody>
      </p:sp>
      <p:grpSp>
        <p:nvGrpSpPr>
          <p:cNvPr id="83" name="Group 82">
            <a:extLst>
              <a:ext uri="{FF2B5EF4-FFF2-40B4-BE49-F238E27FC236}">
                <a16:creationId xmlns:a16="http://schemas.microsoft.com/office/drawing/2014/main" id="{F2B0BB71-EE42-43A4-87A8-578E44A06403}"/>
              </a:ext>
            </a:extLst>
          </p:cNvPr>
          <p:cNvGrpSpPr/>
          <p:nvPr/>
        </p:nvGrpSpPr>
        <p:grpSpPr>
          <a:xfrm>
            <a:off x="8222729" y="2165516"/>
            <a:ext cx="703263" cy="703263"/>
            <a:chOff x="7105650" y="4652963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84" name="Oval 22">
              <a:extLst>
                <a:ext uri="{FF2B5EF4-FFF2-40B4-BE49-F238E27FC236}">
                  <a16:creationId xmlns:a16="http://schemas.microsoft.com/office/drawing/2014/main" id="{3E378D85-29FE-4C9D-8C74-E7BEB2C531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05650" y="4652963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5" name="Line 34">
              <a:extLst>
                <a:ext uri="{FF2B5EF4-FFF2-40B4-BE49-F238E27FC236}">
                  <a16:creationId xmlns:a16="http://schemas.microsoft.com/office/drawing/2014/main" id="{7F00D501-56BA-4F61-BF96-6EE6FBBB594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89788" y="4983163"/>
              <a:ext cx="61913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6" name="Line 35">
              <a:extLst>
                <a:ext uri="{FF2B5EF4-FFF2-40B4-BE49-F238E27FC236}">
                  <a16:creationId xmlns:a16="http://schemas.microsoft.com/office/drawing/2014/main" id="{CC4CB40D-0F2E-43F6-9AA1-F28520D2729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64388" y="4956176"/>
              <a:ext cx="87313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7" name="Oval 36">
              <a:extLst>
                <a:ext uri="{FF2B5EF4-FFF2-40B4-BE49-F238E27FC236}">
                  <a16:creationId xmlns:a16="http://schemas.microsoft.com/office/drawing/2014/main" id="{5DF6DB5C-0C19-456C-BB59-419D090D96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265988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8" name="Oval 37">
              <a:extLst>
                <a:ext uri="{FF2B5EF4-FFF2-40B4-BE49-F238E27FC236}">
                  <a16:creationId xmlns:a16="http://schemas.microsoft.com/office/drawing/2014/main" id="{C4B6B9E1-EC9E-4580-BB51-CC4791D775D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34250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89" name="Oval 38">
              <a:extLst>
                <a:ext uri="{FF2B5EF4-FFF2-40B4-BE49-F238E27FC236}">
                  <a16:creationId xmlns:a16="http://schemas.microsoft.com/office/drawing/2014/main" id="{487B0A0B-4390-4F59-BA99-1C3B8EDB57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404100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0" name="Freeform 39">
              <a:extLst>
                <a:ext uri="{FF2B5EF4-FFF2-40B4-BE49-F238E27FC236}">
                  <a16:creationId xmlns:a16="http://schemas.microsoft.com/office/drawing/2014/main" id="{6C79A321-79B0-44B8-ADCF-5BF902EE0F6E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3175" y="4918076"/>
              <a:ext cx="36513" cy="22225"/>
            </a:xfrm>
            <a:custGeom>
              <a:avLst/>
              <a:gdLst>
                <a:gd name="T0" fmla="*/ 0 w 23"/>
                <a:gd name="T1" fmla="*/ 14 h 14"/>
                <a:gd name="T2" fmla="*/ 0 w 23"/>
                <a:gd name="T3" fmla="*/ 0 h 14"/>
                <a:gd name="T4" fmla="*/ 23 w 23"/>
                <a:gd name="T5" fmla="*/ 14 h 14"/>
                <a:gd name="T6" fmla="*/ 0 w 23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4">
                  <a:moveTo>
                    <a:pt x="0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6"/>
                    <a:pt x="23" y="14"/>
                    <a:pt x="23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1" name="Freeform 40">
              <a:extLst>
                <a:ext uri="{FF2B5EF4-FFF2-40B4-BE49-F238E27FC236}">
                  <a16:creationId xmlns:a16="http://schemas.microsoft.com/office/drawing/2014/main" id="{AF22BDE7-CED3-4B15-80F3-239BE28FD3D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18363" y="4918076"/>
              <a:ext cx="388938" cy="157163"/>
            </a:xfrm>
            <a:custGeom>
              <a:avLst/>
              <a:gdLst>
                <a:gd name="T0" fmla="*/ 148 w 245"/>
                <a:gd name="T1" fmla="*/ 99 h 99"/>
                <a:gd name="T2" fmla="*/ 244 w 245"/>
                <a:gd name="T3" fmla="*/ 99 h 99"/>
                <a:gd name="T4" fmla="*/ 245 w 245"/>
                <a:gd name="T5" fmla="*/ 0 h 99"/>
                <a:gd name="T6" fmla="*/ 0 w 245"/>
                <a:gd name="T7" fmla="*/ 0 h 99"/>
                <a:gd name="T8" fmla="*/ 0 w 245"/>
                <a:gd name="T9" fmla="*/ 99 h 99"/>
                <a:gd name="T10" fmla="*/ 31 w 245"/>
                <a:gd name="T1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5" h="99">
                  <a:moveTo>
                    <a:pt x="148" y="99"/>
                  </a:moveTo>
                  <a:lnTo>
                    <a:pt x="244" y="99"/>
                  </a:lnTo>
                  <a:lnTo>
                    <a:pt x="245" y="0"/>
                  </a:lnTo>
                  <a:lnTo>
                    <a:pt x="0" y="0"/>
                  </a:lnTo>
                  <a:lnTo>
                    <a:pt x="0" y="99"/>
                  </a:lnTo>
                  <a:lnTo>
                    <a:pt x="31" y="99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2" name="Line 41">
              <a:extLst>
                <a:ext uri="{FF2B5EF4-FFF2-40B4-BE49-F238E27FC236}">
                  <a16:creationId xmlns:a16="http://schemas.microsoft.com/office/drawing/2014/main" id="{EE3F0B00-BB86-4FF6-8CF1-BE757EA1C5A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83463" y="5075238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3" name="Line 42">
              <a:extLst>
                <a:ext uri="{FF2B5EF4-FFF2-40B4-BE49-F238E27FC236}">
                  <a16:creationId xmlns:a16="http://schemas.microsoft.com/office/drawing/2014/main" id="{D1DC041C-4D58-4EBA-BB4D-2698E670DD7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313613" y="5075238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4" name="Freeform 43">
              <a:extLst>
                <a:ext uri="{FF2B5EF4-FFF2-40B4-BE49-F238E27FC236}">
                  <a16:creationId xmlns:a16="http://schemas.microsoft.com/office/drawing/2014/main" id="{AB07871A-9074-4F8A-81BF-0C8CDD793AF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24763" y="4956176"/>
              <a:ext cx="106363" cy="112713"/>
            </a:xfrm>
            <a:custGeom>
              <a:avLst/>
              <a:gdLst>
                <a:gd name="T0" fmla="*/ 48 w 67"/>
                <a:gd name="T1" fmla="*/ 71 h 71"/>
                <a:gd name="T2" fmla="*/ 67 w 67"/>
                <a:gd name="T3" fmla="*/ 71 h 71"/>
                <a:gd name="T4" fmla="*/ 67 w 67"/>
                <a:gd name="T5" fmla="*/ 42 h 71"/>
                <a:gd name="T6" fmla="*/ 67 w 67"/>
                <a:gd name="T7" fmla="*/ 34 h 71"/>
                <a:gd name="T8" fmla="*/ 52 w 67"/>
                <a:gd name="T9" fmla="*/ 0 h 71"/>
                <a:gd name="T10" fmla="*/ 0 w 67"/>
                <a:gd name="T11" fmla="*/ 0 h 71"/>
                <a:gd name="T12" fmla="*/ 0 w 67"/>
                <a:gd name="T13" fmla="*/ 71 h 71"/>
                <a:gd name="T14" fmla="*/ 18 w 67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7" h="71">
                  <a:moveTo>
                    <a:pt x="48" y="71"/>
                  </a:moveTo>
                  <a:lnTo>
                    <a:pt x="67" y="71"/>
                  </a:lnTo>
                  <a:lnTo>
                    <a:pt x="67" y="42"/>
                  </a:lnTo>
                  <a:lnTo>
                    <a:pt x="67" y="34"/>
                  </a:lnTo>
                  <a:lnTo>
                    <a:pt x="52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5" name="Oval 44">
              <a:extLst>
                <a:ext uri="{FF2B5EF4-FFF2-40B4-BE49-F238E27FC236}">
                  <a16:creationId xmlns:a16="http://schemas.microsoft.com/office/drawing/2014/main" id="{5A7645E5-2D66-4FE7-BCD9-B3A763B191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50163" y="5054601"/>
              <a:ext cx="53975" cy="55563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96" name="TextBox 95">
            <a:extLst>
              <a:ext uri="{FF2B5EF4-FFF2-40B4-BE49-F238E27FC236}">
                <a16:creationId xmlns:a16="http://schemas.microsoft.com/office/drawing/2014/main" id="{6D512D90-6D69-47E5-99FD-B270B512637E}"/>
              </a:ext>
            </a:extLst>
          </p:cNvPr>
          <p:cNvSpPr txBox="1"/>
          <p:nvPr/>
        </p:nvSpPr>
        <p:spPr>
          <a:xfrm>
            <a:off x="8098525" y="2925395"/>
            <a:ext cx="933848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338F07AA-9814-4E5D-91CC-E46CADB4F007}"/>
              </a:ext>
            </a:extLst>
          </p:cNvPr>
          <p:cNvGrpSpPr/>
          <p:nvPr/>
        </p:nvGrpSpPr>
        <p:grpSpPr>
          <a:xfrm>
            <a:off x="9202249" y="2165516"/>
            <a:ext cx="703263" cy="703263"/>
            <a:chOff x="8296275" y="4641851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98" name="Oval 11">
              <a:extLst>
                <a:ext uri="{FF2B5EF4-FFF2-40B4-BE49-F238E27FC236}">
                  <a16:creationId xmlns:a16="http://schemas.microsoft.com/office/drawing/2014/main" id="{610B49AD-8C4C-4111-8158-98CA8202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296275" y="4641851"/>
              <a:ext cx="703263" cy="7032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99" name="Freeform 93">
              <a:extLst>
                <a:ext uri="{FF2B5EF4-FFF2-40B4-BE49-F238E27FC236}">
                  <a16:creationId xmlns:a16="http://schemas.microsoft.com/office/drawing/2014/main" id="{5BDAB1AC-F4DE-4621-B948-0799C7679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8455025" y="4770438"/>
              <a:ext cx="379413" cy="379413"/>
            </a:xfrm>
            <a:custGeom>
              <a:avLst/>
              <a:gdLst>
                <a:gd name="T0" fmla="*/ 239 w 239"/>
                <a:gd name="T1" fmla="*/ 239 h 239"/>
                <a:gd name="T2" fmla="*/ 239 w 239"/>
                <a:gd name="T3" fmla="*/ 55 h 239"/>
                <a:gd name="T4" fmla="*/ 116 w 239"/>
                <a:gd name="T5" fmla="*/ 0 h 239"/>
                <a:gd name="T6" fmla="*/ 0 w 239"/>
                <a:gd name="T7" fmla="*/ 55 h 239"/>
                <a:gd name="T8" fmla="*/ 0 w 239"/>
                <a:gd name="T9" fmla="*/ 239 h 239"/>
                <a:gd name="T10" fmla="*/ 239 w 239"/>
                <a:gd name="T11" fmla="*/ 239 h 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9" h="239">
                  <a:moveTo>
                    <a:pt x="239" y="239"/>
                  </a:moveTo>
                  <a:lnTo>
                    <a:pt x="239" y="55"/>
                  </a:lnTo>
                  <a:lnTo>
                    <a:pt x="116" y="0"/>
                  </a:lnTo>
                  <a:lnTo>
                    <a:pt x="0" y="55"/>
                  </a:lnTo>
                  <a:lnTo>
                    <a:pt x="0" y="239"/>
                  </a:lnTo>
                  <a:lnTo>
                    <a:pt x="239" y="239"/>
                  </a:lnTo>
                  <a:close/>
                </a:path>
              </a:pathLst>
            </a:cu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0" name="Rectangle 94">
              <a:extLst>
                <a:ext uri="{FF2B5EF4-FFF2-40B4-BE49-F238E27FC236}">
                  <a16:creationId xmlns:a16="http://schemas.microsoft.com/office/drawing/2014/main" id="{E16B9B70-CCA3-422E-9D1D-F031EA131FB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5076826"/>
              <a:ext cx="60325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1" name="Rectangle 95">
              <a:extLst>
                <a:ext uri="{FF2B5EF4-FFF2-40B4-BE49-F238E27FC236}">
                  <a16:creationId xmlns:a16="http://schemas.microsoft.com/office/drawing/2014/main" id="{092995EF-3B07-4FE1-8BCA-9B9BC75EE72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3463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2" name="Rectangle 96">
              <a:extLst>
                <a:ext uri="{FF2B5EF4-FFF2-40B4-BE49-F238E27FC236}">
                  <a16:creationId xmlns:a16="http://schemas.microsoft.com/office/drawing/2014/main" id="{7CCCB58F-860E-4AE7-8525-BDFDD421CFF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3" name="Rectangle 97">
              <a:extLst>
                <a:ext uri="{FF2B5EF4-FFF2-40B4-BE49-F238E27FC236}">
                  <a16:creationId xmlns:a16="http://schemas.microsoft.com/office/drawing/2014/main" id="{2D2AE882-5D1E-4D78-BFA5-BB483F9830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4994276"/>
              <a:ext cx="60325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4" name="Rectangle 98">
              <a:extLst>
                <a:ext uri="{FF2B5EF4-FFF2-40B4-BE49-F238E27FC236}">
                  <a16:creationId xmlns:a16="http://schemas.microsoft.com/office/drawing/2014/main" id="{5D03E048-059F-4015-9B02-064F91E90D5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499427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5" name="Rectangle 99">
              <a:extLst>
                <a:ext uri="{FF2B5EF4-FFF2-40B4-BE49-F238E27FC236}">
                  <a16:creationId xmlns:a16="http://schemas.microsoft.com/office/drawing/2014/main" id="{69ED595D-6607-4910-8BA3-2D3C881F48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653463" y="499427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6" name="Rectangle 100">
              <a:extLst>
                <a:ext uri="{FF2B5EF4-FFF2-40B4-BE49-F238E27FC236}">
                  <a16:creationId xmlns:a16="http://schemas.microsoft.com/office/drawing/2014/main" id="{9B4965E1-FB6D-4545-9BD2-DCB69891BA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567738" y="4911726"/>
              <a:ext cx="60325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7" name="Rectangle 101">
              <a:extLst>
                <a:ext uri="{FF2B5EF4-FFF2-40B4-BE49-F238E27FC236}">
                  <a16:creationId xmlns:a16="http://schemas.microsoft.com/office/drawing/2014/main" id="{3D919D22-7E20-451A-98FA-8C2A01C586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483600" y="4911726"/>
              <a:ext cx="58738" cy="52388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08" name="Rectangle 102">
              <a:extLst>
                <a:ext uri="{FF2B5EF4-FFF2-40B4-BE49-F238E27FC236}">
                  <a16:creationId xmlns:a16="http://schemas.microsoft.com/office/drawing/2014/main" id="{81B0CDBC-076F-4532-BEDF-EE183F12A3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737600" y="5076826"/>
              <a:ext cx="58738" cy="50800"/>
            </a:xfrm>
            <a:prstGeom prst="rect">
              <a:avLst/>
            </a:prstGeom>
            <a:grpFill/>
            <a:ln w="11113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109" name="TextBox 108">
            <a:extLst>
              <a:ext uri="{FF2B5EF4-FFF2-40B4-BE49-F238E27FC236}">
                <a16:creationId xmlns:a16="http://schemas.microsoft.com/office/drawing/2014/main" id="{0C18D7E1-D21B-436A-B0FC-CF9A96DA2E21}"/>
              </a:ext>
            </a:extLst>
          </p:cNvPr>
          <p:cNvSpPr txBox="1"/>
          <p:nvPr/>
        </p:nvSpPr>
        <p:spPr>
          <a:xfrm>
            <a:off x="9077806" y="2918164"/>
            <a:ext cx="933848" cy="2493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reight</a:t>
            </a:r>
            <a:b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</a:b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forwarder</a:t>
            </a:r>
          </a:p>
        </p:txBody>
      </p:sp>
      <p:sp>
        <p:nvSpPr>
          <p:cNvPr id="110" name="TextBox 109">
            <a:extLst>
              <a:ext uri="{FF2B5EF4-FFF2-40B4-BE49-F238E27FC236}">
                <a16:creationId xmlns:a16="http://schemas.microsoft.com/office/drawing/2014/main" id="{1DEEA008-5F5E-4C6E-BAA5-2FB90A8236B5}"/>
              </a:ext>
            </a:extLst>
          </p:cNvPr>
          <p:cNvSpPr txBox="1"/>
          <p:nvPr/>
        </p:nvSpPr>
        <p:spPr>
          <a:xfrm>
            <a:off x="10064262" y="2918164"/>
            <a:ext cx="933848" cy="1200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all" spc="110" normalizeH="0" baseline="0" noProof="0" dirty="0">
                <a:ln>
                  <a:noFill/>
                </a:ln>
                <a:solidFill>
                  <a:srgbClr val="3C3C3B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Trucker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EC96CF69-3F2C-4017-8C1F-A84CD4726C13}"/>
              </a:ext>
            </a:extLst>
          </p:cNvPr>
          <p:cNvGrpSpPr/>
          <p:nvPr/>
        </p:nvGrpSpPr>
        <p:grpSpPr>
          <a:xfrm>
            <a:off x="10186351" y="2165516"/>
            <a:ext cx="703263" cy="703263"/>
            <a:chOff x="9486900" y="4652963"/>
            <a:chExt cx="703263" cy="703263"/>
          </a:xfrm>
          <a:solidFill>
            <a:schemeClr val="bg1">
              <a:lumMod val="75000"/>
            </a:schemeClr>
          </a:solidFill>
        </p:grpSpPr>
        <p:sp>
          <p:nvSpPr>
            <p:cNvPr id="112" name="Oval 13">
              <a:extLst>
                <a:ext uri="{FF2B5EF4-FFF2-40B4-BE49-F238E27FC236}">
                  <a16:creationId xmlns:a16="http://schemas.microsoft.com/office/drawing/2014/main" id="{DF517B53-095C-49D7-9D31-560BEE4483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486900" y="4652963"/>
              <a:ext cx="703263" cy="703263"/>
            </a:xfrm>
            <a:prstGeom prst="ellipse">
              <a:avLst/>
            </a:prstGeom>
            <a:grpFill/>
            <a:ln w="6350" cap="flat">
              <a:solidFill>
                <a:srgbClr val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3" name="Line 23">
              <a:extLst>
                <a:ext uri="{FF2B5EF4-FFF2-40B4-BE49-F238E27FC236}">
                  <a16:creationId xmlns:a16="http://schemas.microsoft.com/office/drawing/2014/main" id="{C1BC55E8-A744-4FA3-9651-FF1AAD22AC3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72625" y="4983163"/>
              <a:ext cx="61913" cy="0"/>
            </a:xfrm>
            <a:prstGeom prst="line">
              <a:avLst/>
            </a:prstGeom>
            <a:grpFill/>
            <a:ln w="6350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4" name="Line 24">
              <a:extLst>
                <a:ext uri="{FF2B5EF4-FFF2-40B4-BE49-F238E27FC236}">
                  <a16:creationId xmlns:a16="http://schemas.microsoft.com/office/drawing/2014/main" id="{FFCF103F-CE5F-4AB5-94B8-8A0894A2568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548813" y="4956176"/>
              <a:ext cx="85725" cy="0"/>
            </a:xfrm>
            <a:prstGeom prst="lin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5" name="Oval 25">
              <a:extLst>
                <a:ext uri="{FF2B5EF4-FFF2-40B4-BE49-F238E27FC236}">
                  <a16:creationId xmlns:a16="http://schemas.microsoft.com/office/drawing/2014/main" id="{CB7897C1-FB93-470A-9C4A-C8E4A29A10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48825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6" name="Oval 26">
              <a:extLst>
                <a:ext uri="{FF2B5EF4-FFF2-40B4-BE49-F238E27FC236}">
                  <a16:creationId xmlns:a16="http://schemas.microsoft.com/office/drawing/2014/main" id="{5B3F425D-B3E4-45EC-9B90-F8186F2EC39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17088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7" name="Oval 27">
              <a:extLst>
                <a:ext uri="{FF2B5EF4-FFF2-40B4-BE49-F238E27FC236}">
                  <a16:creationId xmlns:a16="http://schemas.microsoft.com/office/drawing/2014/main" id="{95866323-3F1A-4776-BED6-78CEFBFAC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8525" y="5062538"/>
              <a:ext cx="50800" cy="50800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8" name="Freeform 28">
              <a:extLst>
                <a:ext uri="{FF2B5EF4-FFF2-40B4-BE49-F238E27FC236}">
                  <a16:creationId xmlns:a16="http://schemas.microsoft.com/office/drawing/2014/main" id="{99B1CA53-D0A6-473E-A9CA-F623ADA797A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6013" y="4918076"/>
              <a:ext cx="36513" cy="22225"/>
            </a:xfrm>
            <a:custGeom>
              <a:avLst/>
              <a:gdLst>
                <a:gd name="T0" fmla="*/ 0 w 23"/>
                <a:gd name="T1" fmla="*/ 14 h 14"/>
                <a:gd name="T2" fmla="*/ 0 w 23"/>
                <a:gd name="T3" fmla="*/ 0 h 14"/>
                <a:gd name="T4" fmla="*/ 23 w 23"/>
                <a:gd name="T5" fmla="*/ 14 h 14"/>
                <a:gd name="T6" fmla="*/ 0 w 23"/>
                <a:gd name="T7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14">
                  <a:moveTo>
                    <a:pt x="0" y="14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5" y="6"/>
                    <a:pt x="23" y="14"/>
                    <a:pt x="23" y="14"/>
                  </a:cubicBezTo>
                  <a:lnTo>
                    <a:pt x="0" y="14"/>
                  </a:lnTo>
                  <a:close/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19" name="Freeform 29">
              <a:extLst>
                <a:ext uri="{FF2B5EF4-FFF2-40B4-BE49-F238E27FC236}">
                  <a16:creationId xmlns:a16="http://schemas.microsoft.com/office/drawing/2014/main" id="{474A486A-6BD0-4F49-AAF2-000C89B63F8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613" y="4918076"/>
              <a:ext cx="390525" cy="157163"/>
            </a:xfrm>
            <a:custGeom>
              <a:avLst/>
              <a:gdLst>
                <a:gd name="T0" fmla="*/ 149 w 246"/>
                <a:gd name="T1" fmla="*/ 99 h 99"/>
                <a:gd name="T2" fmla="*/ 245 w 246"/>
                <a:gd name="T3" fmla="*/ 99 h 99"/>
                <a:gd name="T4" fmla="*/ 246 w 246"/>
                <a:gd name="T5" fmla="*/ 0 h 99"/>
                <a:gd name="T6" fmla="*/ 0 w 246"/>
                <a:gd name="T7" fmla="*/ 0 h 99"/>
                <a:gd name="T8" fmla="*/ 0 w 246"/>
                <a:gd name="T9" fmla="*/ 99 h 99"/>
                <a:gd name="T10" fmla="*/ 32 w 246"/>
                <a:gd name="T11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46" h="99">
                  <a:moveTo>
                    <a:pt x="149" y="99"/>
                  </a:moveTo>
                  <a:lnTo>
                    <a:pt x="245" y="99"/>
                  </a:lnTo>
                  <a:lnTo>
                    <a:pt x="246" y="0"/>
                  </a:lnTo>
                  <a:lnTo>
                    <a:pt x="0" y="0"/>
                  </a:lnTo>
                  <a:lnTo>
                    <a:pt x="0" y="99"/>
                  </a:lnTo>
                  <a:lnTo>
                    <a:pt x="32" y="99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0" name="Line 30">
              <a:extLst>
                <a:ext uri="{FF2B5EF4-FFF2-40B4-BE49-F238E27FC236}">
                  <a16:creationId xmlns:a16="http://schemas.microsoft.com/office/drawing/2014/main" id="{F39F3DD2-7F0F-44E7-B21C-7449C877BB2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766300" y="5075238"/>
              <a:ext cx="23813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1" name="Line 31">
              <a:extLst>
                <a:ext uri="{FF2B5EF4-FFF2-40B4-BE49-F238E27FC236}">
                  <a16:creationId xmlns:a16="http://schemas.microsoft.com/office/drawing/2014/main" id="{B5962CD9-2F5E-4C85-B020-3A507EA555A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9696450" y="5075238"/>
              <a:ext cx="20638" cy="0"/>
            </a:xfrm>
            <a:prstGeom prst="line">
              <a:avLst/>
            </a:pr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2" name="Freeform 32">
              <a:extLst>
                <a:ext uri="{FF2B5EF4-FFF2-40B4-BE49-F238E27FC236}">
                  <a16:creationId xmlns:a16="http://schemas.microsoft.com/office/drawing/2014/main" id="{A8EE69D5-DA90-46D0-9077-1922C659068B}"/>
                </a:ext>
              </a:extLst>
            </p:cNvPr>
            <p:cNvSpPr>
              <a:spLocks/>
            </p:cNvSpPr>
            <p:nvPr/>
          </p:nvSpPr>
          <p:spPr bwMode="auto">
            <a:xfrm>
              <a:off x="10007600" y="4956176"/>
              <a:ext cx="107950" cy="112713"/>
            </a:xfrm>
            <a:custGeom>
              <a:avLst/>
              <a:gdLst>
                <a:gd name="T0" fmla="*/ 48 w 68"/>
                <a:gd name="T1" fmla="*/ 71 h 71"/>
                <a:gd name="T2" fmla="*/ 68 w 68"/>
                <a:gd name="T3" fmla="*/ 71 h 71"/>
                <a:gd name="T4" fmla="*/ 68 w 68"/>
                <a:gd name="T5" fmla="*/ 42 h 71"/>
                <a:gd name="T6" fmla="*/ 68 w 68"/>
                <a:gd name="T7" fmla="*/ 34 h 71"/>
                <a:gd name="T8" fmla="*/ 53 w 68"/>
                <a:gd name="T9" fmla="*/ 0 h 71"/>
                <a:gd name="T10" fmla="*/ 0 w 68"/>
                <a:gd name="T11" fmla="*/ 0 h 71"/>
                <a:gd name="T12" fmla="*/ 0 w 68"/>
                <a:gd name="T13" fmla="*/ 71 h 71"/>
                <a:gd name="T14" fmla="*/ 18 w 68"/>
                <a:gd name="T15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8" h="71">
                  <a:moveTo>
                    <a:pt x="48" y="71"/>
                  </a:moveTo>
                  <a:lnTo>
                    <a:pt x="68" y="71"/>
                  </a:lnTo>
                  <a:lnTo>
                    <a:pt x="68" y="42"/>
                  </a:lnTo>
                  <a:lnTo>
                    <a:pt x="68" y="34"/>
                  </a:lnTo>
                  <a:lnTo>
                    <a:pt x="53" y="0"/>
                  </a:lnTo>
                  <a:lnTo>
                    <a:pt x="0" y="0"/>
                  </a:lnTo>
                  <a:lnTo>
                    <a:pt x="0" y="71"/>
                  </a:lnTo>
                  <a:lnTo>
                    <a:pt x="18" y="71"/>
                  </a:lnTo>
                </a:path>
              </a:pathLst>
            </a:custGeom>
            <a:grpFill/>
            <a:ln w="9525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  <p:sp>
          <p:nvSpPr>
            <p:cNvPr id="123" name="Oval 33">
              <a:extLst>
                <a:ext uri="{FF2B5EF4-FFF2-40B4-BE49-F238E27FC236}">
                  <a16:creationId xmlns:a16="http://schemas.microsoft.com/office/drawing/2014/main" id="{C613E30E-2978-467A-A0B6-5E12FC6A947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033000" y="5054601"/>
              <a:ext cx="55563" cy="55563"/>
            </a:xfrm>
            <a:prstGeom prst="ellipse">
              <a:avLst/>
            </a:prstGeom>
            <a:grpFill/>
            <a:ln w="7938" cap="rnd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endParaRPr>
            </a:p>
          </p:txBody>
        </p:sp>
      </p:grp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A37EFA22-5802-4F76-A65F-43DD0F6DB11B}"/>
              </a:ext>
            </a:extLst>
          </p:cNvPr>
          <p:cNvCxnSpPr/>
          <p:nvPr/>
        </p:nvCxnSpPr>
        <p:spPr>
          <a:xfrm>
            <a:off x="1063225" y="2517147"/>
            <a:ext cx="28098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Straight Arrow Connector 126">
            <a:extLst>
              <a:ext uri="{FF2B5EF4-FFF2-40B4-BE49-F238E27FC236}">
                <a16:creationId xmlns:a16="http://schemas.microsoft.com/office/drawing/2014/main" id="{F1D4A764-A8E6-4C54-8D0E-9302112B2CC4}"/>
              </a:ext>
            </a:extLst>
          </p:cNvPr>
          <p:cNvCxnSpPr>
            <a:stCxn id="24" idx="6"/>
            <a:endCxn id="8" idx="2"/>
          </p:cNvCxnSpPr>
          <p:nvPr/>
        </p:nvCxnSpPr>
        <p:spPr>
          <a:xfrm>
            <a:off x="1063225" y="2517148"/>
            <a:ext cx="28098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Straight Arrow Connector 127">
            <a:extLst>
              <a:ext uri="{FF2B5EF4-FFF2-40B4-BE49-F238E27FC236}">
                <a16:creationId xmlns:a16="http://schemas.microsoft.com/office/drawing/2014/main" id="{D5084498-749A-4E1C-AE00-507728524286}"/>
              </a:ext>
            </a:extLst>
          </p:cNvPr>
          <p:cNvCxnSpPr>
            <a:stCxn id="8" idx="6"/>
            <a:endCxn id="43" idx="2"/>
          </p:cNvCxnSpPr>
          <p:nvPr/>
        </p:nvCxnSpPr>
        <p:spPr>
          <a:xfrm>
            <a:off x="2047476" y="2517148"/>
            <a:ext cx="301223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Straight Arrow Connector 128">
            <a:extLst>
              <a:ext uri="{FF2B5EF4-FFF2-40B4-BE49-F238E27FC236}">
                <a16:creationId xmlns:a16="http://schemas.microsoft.com/office/drawing/2014/main" id="{C2C40A5C-FE5E-49AF-A69F-1BD578EE7141}"/>
              </a:ext>
            </a:extLst>
          </p:cNvPr>
          <p:cNvCxnSpPr>
            <a:stCxn id="43" idx="6"/>
            <a:endCxn id="33" idx="2"/>
          </p:cNvCxnSpPr>
          <p:nvPr/>
        </p:nvCxnSpPr>
        <p:spPr>
          <a:xfrm>
            <a:off x="3051962" y="2517148"/>
            <a:ext cx="34465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Straight Arrow Connector 129">
            <a:extLst>
              <a:ext uri="{FF2B5EF4-FFF2-40B4-BE49-F238E27FC236}">
                <a16:creationId xmlns:a16="http://schemas.microsoft.com/office/drawing/2014/main" id="{8965E900-0956-495A-A91C-E4941CC8B215}"/>
              </a:ext>
            </a:extLst>
          </p:cNvPr>
          <p:cNvCxnSpPr>
            <a:stCxn id="33" idx="6"/>
            <a:endCxn id="60" idx="2"/>
          </p:cNvCxnSpPr>
          <p:nvPr/>
        </p:nvCxnSpPr>
        <p:spPr>
          <a:xfrm>
            <a:off x="4099883" y="2517148"/>
            <a:ext cx="228431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Arrow Connector 130">
            <a:extLst>
              <a:ext uri="{FF2B5EF4-FFF2-40B4-BE49-F238E27FC236}">
                <a16:creationId xmlns:a16="http://schemas.microsoft.com/office/drawing/2014/main" id="{442AED21-A663-49DC-83D7-A2CEC99CA911}"/>
              </a:ext>
            </a:extLst>
          </p:cNvPr>
          <p:cNvCxnSpPr>
            <a:stCxn id="60" idx="6"/>
            <a:endCxn id="64" idx="2"/>
          </p:cNvCxnSpPr>
          <p:nvPr/>
        </p:nvCxnSpPr>
        <p:spPr>
          <a:xfrm>
            <a:off x="5029989" y="2517148"/>
            <a:ext cx="312168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Arrow Connector 131">
            <a:extLst>
              <a:ext uri="{FF2B5EF4-FFF2-40B4-BE49-F238E27FC236}">
                <a16:creationId xmlns:a16="http://schemas.microsoft.com/office/drawing/2014/main" id="{6E3336CF-BABE-4F3E-9408-BCC503C4521E}"/>
              </a:ext>
            </a:extLst>
          </p:cNvPr>
          <p:cNvCxnSpPr>
            <a:stCxn id="64" idx="6"/>
            <a:endCxn id="56" idx="2"/>
          </p:cNvCxnSpPr>
          <p:nvPr/>
        </p:nvCxnSpPr>
        <p:spPr>
          <a:xfrm>
            <a:off x="6045420" y="2517148"/>
            <a:ext cx="23686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Arrow Connector 132">
            <a:extLst>
              <a:ext uri="{FF2B5EF4-FFF2-40B4-BE49-F238E27FC236}">
                <a16:creationId xmlns:a16="http://schemas.microsoft.com/office/drawing/2014/main" id="{00665DA0-E802-46D5-8503-AB6525844A93}"/>
              </a:ext>
            </a:extLst>
          </p:cNvPr>
          <p:cNvCxnSpPr>
            <a:stCxn id="56" idx="6"/>
            <a:endCxn id="74" idx="2"/>
          </p:cNvCxnSpPr>
          <p:nvPr/>
        </p:nvCxnSpPr>
        <p:spPr>
          <a:xfrm>
            <a:off x="6983962" y="2517148"/>
            <a:ext cx="26288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Arrow Connector 133">
            <a:extLst>
              <a:ext uri="{FF2B5EF4-FFF2-40B4-BE49-F238E27FC236}">
                <a16:creationId xmlns:a16="http://schemas.microsoft.com/office/drawing/2014/main" id="{AF0160F0-1FEB-455A-BFBB-860BE1CB8F23}"/>
              </a:ext>
            </a:extLst>
          </p:cNvPr>
          <p:cNvCxnSpPr>
            <a:stCxn id="74" idx="6"/>
            <a:endCxn id="84" idx="2"/>
          </p:cNvCxnSpPr>
          <p:nvPr/>
        </p:nvCxnSpPr>
        <p:spPr>
          <a:xfrm>
            <a:off x="7950105" y="2517148"/>
            <a:ext cx="272624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134">
            <a:extLst>
              <a:ext uri="{FF2B5EF4-FFF2-40B4-BE49-F238E27FC236}">
                <a16:creationId xmlns:a16="http://schemas.microsoft.com/office/drawing/2014/main" id="{65571AD1-5FCF-436B-B07A-B982E72F4E14}"/>
              </a:ext>
            </a:extLst>
          </p:cNvPr>
          <p:cNvCxnSpPr>
            <a:stCxn id="84" idx="6"/>
            <a:endCxn id="98" idx="2"/>
          </p:cNvCxnSpPr>
          <p:nvPr/>
        </p:nvCxnSpPr>
        <p:spPr>
          <a:xfrm>
            <a:off x="8925992" y="2517148"/>
            <a:ext cx="276257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Straight Arrow Connector 135">
            <a:extLst>
              <a:ext uri="{FF2B5EF4-FFF2-40B4-BE49-F238E27FC236}">
                <a16:creationId xmlns:a16="http://schemas.microsoft.com/office/drawing/2014/main" id="{9A6A9828-7910-47AE-A52C-40B49401E608}"/>
              </a:ext>
            </a:extLst>
          </p:cNvPr>
          <p:cNvCxnSpPr>
            <a:stCxn id="98" idx="6"/>
            <a:endCxn id="112" idx="2"/>
          </p:cNvCxnSpPr>
          <p:nvPr/>
        </p:nvCxnSpPr>
        <p:spPr>
          <a:xfrm>
            <a:off x="9905512" y="2517148"/>
            <a:ext cx="2808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Straight Arrow Connector 136">
            <a:extLst>
              <a:ext uri="{FF2B5EF4-FFF2-40B4-BE49-F238E27FC236}">
                <a16:creationId xmlns:a16="http://schemas.microsoft.com/office/drawing/2014/main" id="{74D5413F-E492-491F-917B-C51666F654AF}"/>
              </a:ext>
            </a:extLst>
          </p:cNvPr>
          <p:cNvCxnSpPr>
            <a:stCxn id="112" idx="6"/>
            <a:endCxn id="5" idx="2"/>
          </p:cNvCxnSpPr>
          <p:nvPr/>
        </p:nvCxnSpPr>
        <p:spPr>
          <a:xfrm>
            <a:off x="10889614" y="2517148"/>
            <a:ext cx="20642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ectangle: Rounded Corners 124">
            <a:extLst>
              <a:ext uri="{FF2B5EF4-FFF2-40B4-BE49-F238E27FC236}">
                <a16:creationId xmlns:a16="http://schemas.microsoft.com/office/drawing/2014/main" id="{C76B2A31-ADB9-4072-B638-7272A611E2C2}"/>
              </a:ext>
            </a:extLst>
          </p:cNvPr>
          <p:cNvSpPr/>
          <p:nvPr/>
        </p:nvSpPr>
        <p:spPr>
          <a:xfrm>
            <a:off x="1217476" y="2165516"/>
            <a:ext cx="9780634" cy="711189"/>
          </a:xfrm>
          <a:prstGeom prst="roundRect">
            <a:avLst/>
          </a:prstGeom>
          <a:solidFill>
            <a:srgbClr val="66CCFF">
              <a:alpha val="60000"/>
            </a:srgbClr>
          </a:solidFill>
          <a:ln>
            <a:solidFill>
              <a:srgbClr val="86BBEC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B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Open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6244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2uMxBMzfNx.dYj4x81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1jsBZ36hVWRvuu8lrj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pteO1X1cCXSCPI4jtSE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Enr84cxj9OBODFAvbV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2uMxBMzfNx.dYj4x81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Enr84cxj9OBODFAvb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2uMxBMzfNx.dYj4x81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1jsBZ36hVWRvuu8lrj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pteO1X1cCXSCPI4jtSE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qNj9EGVedtEqOFK1ovy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Enr84cxj9OBODFAvbV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2uMxBMzfNx.dYj4x81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R.Cd90SBU0sVWkDBo6R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J1jsBZ36hVWRvuu8lr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pteO1X1cCXSCPI4jtSE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SmF.oASEOC2CGvh8Dhw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Enr84cxj9OBODFAvbV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Z2uMxBMzfNx.dYj4x81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pteO1X1cCXSCPI4jtSE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2Enr84cxj9OBODFAvbVg"/>
</p:tagLst>
</file>

<file path=ppt/theme/theme1.xml><?xml version="1.0" encoding="utf-8"?>
<a:theme xmlns:a="http://schemas.openxmlformats.org/drawingml/2006/main" name="GPT">
  <a:themeElements>
    <a:clrScheme name="Nallian Theme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8EE0"/>
      </a:accent1>
      <a:accent2>
        <a:srgbClr val="ED7D31"/>
      </a:accent2>
      <a:accent3>
        <a:srgbClr val="A5A5A5"/>
      </a:accent3>
      <a:accent4>
        <a:srgbClr val="FFC000"/>
      </a:accent4>
      <a:accent5>
        <a:srgbClr val="8836E0"/>
      </a:accent5>
      <a:accent6>
        <a:srgbClr val="70AD47"/>
      </a:accent6>
      <a:hlink>
        <a:srgbClr val="0563C1"/>
      </a:hlink>
      <a:folHlink>
        <a:srgbClr val="75D5F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template_2021" id="{DF7AD18F-ED61-459E-A494-13E5182B5E9E}" vid="{B947BF60-13E9-41A0-A030-934D598248CF}"/>
    </a:ext>
  </a:extLst>
</a:theme>
</file>

<file path=ppt/theme/theme10.xml><?xml version="1.0" encoding="utf-8"?>
<a:theme xmlns:a="http://schemas.openxmlformats.org/drawingml/2006/main" name="3_GPT">
  <a:themeElements>
    <a:clrScheme name="Nallian Theme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8EE0"/>
      </a:accent1>
      <a:accent2>
        <a:srgbClr val="ED7D31"/>
      </a:accent2>
      <a:accent3>
        <a:srgbClr val="A5A5A5"/>
      </a:accent3>
      <a:accent4>
        <a:srgbClr val="FFC000"/>
      </a:accent4>
      <a:accent5>
        <a:srgbClr val="8836E0"/>
      </a:accent5>
      <a:accent6>
        <a:srgbClr val="70AD47"/>
      </a:accent6>
      <a:hlink>
        <a:srgbClr val="0563C1"/>
      </a:hlink>
      <a:folHlink>
        <a:srgbClr val="75D5F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llian ppt template" id="{CBAFE136-1524-461D-86D1-EBC9562409B3}" vid="{CA418A89-92D2-404C-8389-71E6F74891A7}"/>
    </a:ext>
  </a:extLst>
</a:theme>
</file>

<file path=ppt/theme/theme11.xml><?xml version="1.0" encoding="utf-8"?>
<a:theme xmlns:a="http://schemas.openxmlformats.org/drawingml/2006/main" name="4_GPT">
  <a:themeElements>
    <a:clrScheme name="Nallian Theme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8EE0"/>
      </a:accent1>
      <a:accent2>
        <a:srgbClr val="ED7D31"/>
      </a:accent2>
      <a:accent3>
        <a:srgbClr val="A5A5A5"/>
      </a:accent3>
      <a:accent4>
        <a:srgbClr val="FFC000"/>
      </a:accent4>
      <a:accent5>
        <a:srgbClr val="8836E0"/>
      </a:accent5>
      <a:accent6>
        <a:srgbClr val="70AD47"/>
      </a:accent6>
      <a:hlink>
        <a:srgbClr val="0563C1"/>
      </a:hlink>
      <a:folHlink>
        <a:srgbClr val="75D5F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llian ppt template" id="{9EA8E0B8-9104-1B4D-BE9D-F0E5959AEF06}" vid="{F9EA7109-A072-184C-8EF7-67CDA512D0B8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71D2F1"/>
    </a:custClr>
    <a:custClr name="Linear 6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CD3B6C7C-F15B-47B1-B280-E3B59305230B}" vid="{FFA8EDA0-E9F9-4C65-BDFD-3DBFFF2FF178}"/>
    </a:ext>
  </a:extLst>
</a:theme>
</file>

<file path=ppt/theme/theme3.xml><?xml version="1.0" encoding="utf-8"?>
<a:theme xmlns:a="http://schemas.openxmlformats.org/drawingml/2006/main" name="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71D2F1"/>
    </a:custClr>
    <a:custClr name="Linear 6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CD3B6C7C-F15B-47B1-B280-E3B59305230B}" vid="{FFA8EDA0-E9F9-4C65-BDFD-3DBFFF2FF178}"/>
    </a:ext>
  </a:extLst>
</a:theme>
</file>

<file path=ppt/theme/theme4.xml><?xml version="1.0" encoding="utf-8"?>
<a:theme xmlns:a="http://schemas.openxmlformats.org/drawingml/2006/main" name="5_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71D2F1"/>
    </a:custClr>
    <a:custClr name="Linear 6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CD3B6C7C-F15B-47B1-B280-E3B59305230B}" vid="{FFA8EDA0-E9F9-4C65-BDFD-3DBFFF2FF178}"/>
    </a:ext>
  </a:extLst>
</a:theme>
</file>

<file path=ppt/theme/theme5.xml><?xml version="1.0" encoding="utf-8"?>
<a:theme xmlns:a="http://schemas.openxmlformats.org/drawingml/2006/main" name="2_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71D2F1"/>
    </a:custClr>
    <a:custClr name="Linear 6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CD3B6C7C-F15B-47B1-B280-E3B59305230B}" vid="{FFA8EDA0-E9F9-4C65-BDFD-3DBFFF2FF178}"/>
    </a:ext>
  </a:extLst>
</a:theme>
</file>

<file path=ppt/theme/theme6.xml><?xml version="1.0" encoding="utf-8"?>
<a:theme xmlns:a="http://schemas.openxmlformats.org/drawingml/2006/main" name="3_White">
  <a:themeElements>
    <a:clrScheme name="Scheme White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1F40E6"/>
      </a:hlink>
      <a:folHlink>
        <a:srgbClr val="8C5AC8"/>
      </a:folHlink>
    </a:clrScheme>
    <a:fontScheme name="Scheme 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sq">
          <a:solidFill>
            <a:srgbClr val="000000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51C2C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Deep Blue">
      <a:srgbClr val="051C2C"/>
    </a:custClr>
    <a:custClr name="Cyan">
      <a:srgbClr val="00A9F4"/>
    </a:custClr>
    <a:custClr name="Electric Blue">
      <a:srgbClr val="1F40E6"/>
    </a:custClr>
    <a:custClr name="Pale Blue">
      <a:srgbClr val="AAE6F0"/>
    </a:custClr>
    <a:custClr name="Turquoise">
      <a:srgbClr val="3C96B4"/>
    </a:custClr>
    <a:custClr name="Pale Electric Blue">
      <a:srgbClr val="AFC3FF"/>
    </a:custClr>
    <a:custClr name="Purple">
      <a:srgbClr val="8C5AC8"/>
    </a:custClr>
    <a:custClr name="Pink">
      <a:srgbClr val="E6A0C8"/>
    </a:custClr>
    <a:custClr name="Red">
      <a:srgbClr val="E5546C"/>
    </a:custClr>
    <a:custClr name="Orange">
      <a:srgbClr val="FAA082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  <a:custClr name="Linear 1 (Deep Blue)">
      <a:srgbClr val="051C2C"/>
    </a:custClr>
    <a:custClr name="Linear 2">
      <a:srgbClr val="034B6F"/>
    </a:custClr>
    <a:custClr name="Linear 3">
      <a:srgbClr val="027AB1"/>
    </a:custClr>
    <a:custClr name="Linear 4 (Cyan)">
      <a:srgbClr val="00A9F4"/>
    </a:custClr>
    <a:custClr name="Linear 5">
      <a:srgbClr val="71D2F1"/>
    </a:custClr>
    <a:custClr name="Linear 6 (Pale Blue)">
      <a:srgbClr val="AAE6F0"/>
    </a:custClr>
    <a:custClr name="Null">
      <a:srgbClr val="FFFFFF"/>
    </a:custClr>
    <a:custClr name="Null">
      <a:srgbClr val="FFFFFF"/>
    </a:custClr>
    <a:custClr name="Null">
      <a:srgbClr val="FFFFFF"/>
    </a:custClr>
    <a:custClr name="Null">
      <a:srgbClr val="FFFFFF"/>
    </a:custClr>
  </a:custClrLst>
  <a:extLst>
    <a:ext uri="{05A4C25C-085E-4340-85A3-A5531E510DB2}">
      <thm15:themeFamily xmlns:thm15="http://schemas.microsoft.com/office/thememl/2012/main" name="OneFirm-English (United States)-Wide.potx" id="{CD3B6C7C-F15B-47B1-B280-E3B59305230B}" vid="{FFA8EDA0-E9F9-4C65-BDFD-3DBFFF2FF178}"/>
    </a:ext>
  </a:extLst>
</a:theme>
</file>

<file path=ppt/theme/theme7.xml><?xml version="1.0" encoding="utf-8"?>
<a:theme xmlns:a="http://schemas.openxmlformats.org/drawingml/2006/main" name="1_GPT">
  <a:themeElements>
    <a:clrScheme name="Nallian Theme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8EE0"/>
      </a:accent1>
      <a:accent2>
        <a:srgbClr val="ED7D31"/>
      </a:accent2>
      <a:accent3>
        <a:srgbClr val="A5A5A5"/>
      </a:accent3>
      <a:accent4>
        <a:srgbClr val="FFC000"/>
      </a:accent4>
      <a:accent5>
        <a:srgbClr val="8836E0"/>
      </a:accent5>
      <a:accent6>
        <a:srgbClr val="70AD47"/>
      </a:accent6>
      <a:hlink>
        <a:srgbClr val="0563C1"/>
      </a:hlink>
      <a:folHlink>
        <a:srgbClr val="75D5F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3F287943-83E6-A246-AAEF-9150004888FF}" vid="{6BC077A2-E737-6D4F-B2CD-7D5719240DF6}"/>
    </a:ext>
  </a:extLst>
</a:theme>
</file>

<file path=ppt/theme/theme8.xml><?xml version="1.0" encoding="utf-8"?>
<a:theme xmlns:a="http://schemas.openxmlformats.org/drawingml/2006/main" name="Office Theme">
  <a:themeElements>
    <a:clrScheme name="Nallian Theme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8EE0"/>
      </a:accent1>
      <a:accent2>
        <a:srgbClr val="ED7D31"/>
      </a:accent2>
      <a:accent3>
        <a:srgbClr val="A5A5A5"/>
      </a:accent3>
      <a:accent4>
        <a:srgbClr val="FFC000"/>
      </a:accent4>
      <a:accent5>
        <a:srgbClr val="8836E0"/>
      </a:accent5>
      <a:accent6>
        <a:srgbClr val="70AD47"/>
      </a:accent6>
      <a:hlink>
        <a:srgbClr val="0563C1"/>
      </a:hlink>
      <a:folHlink>
        <a:srgbClr val="75D5F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rgbClr val="86BBEC"/>
          </a:solidFill>
        </a:ln>
      </a:spPr>
      <a:bodyPr rtlCol="0" anchor="ctr"/>
      <a:lstStyle>
        <a:defPPr algn="ctr">
          <a:defRPr dirty="0" smtClean="0">
            <a:latin typeface="Open Sans"/>
          </a:defRPr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latin typeface="Open San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GPT">
  <a:themeElements>
    <a:clrScheme name="Nallian Theme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68EE0"/>
      </a:accent1>
      <a:accent2>
        <a:srgbClr val="ED7D31"/>
      </a:accent2>
      <a:accent3>
        <a:srgbClr val="A5A5A5"/>
      </a:accent3>
      <a:accent4>
        <a:srgbClr val="FFC000"/>
      </a:accent4>
      <a:accent5>
        <a:srgbClr val="8836E0"/>
      </a:accent5>
      <a:accent6>
        <a:srgbClr val="70AD47"/>
      </a:accent6>
      <a:hlink>
        <a:srgbClr val="0563C1"/>
      </a:hlink>
      <a:folHlink>
        <a:srgbClr val="75D5FF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3F287943-83E6-A246-AAEF-9150004888FF}" vid="{6BC077A2-E737-6D4F-B2CD-7D5719240DF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372F2DA3CEB7459E746293097D2AF9" ma:contentTypeVersion="8" ma:contentTypeDescription="Create a new document." ma:contentTypeScope="" ma:versionID="f2d09606f19b11d64d20f893bdfb4d4c">
  <xsd:schema xmlns:xsd="http://www.w3.org/2001/XMLSchema" xmlns:xs="http://www.w3.org/2001/XMLSchema" xmlns:p="http://schemas.microsoft.com/office/2006/metadata/properties" xmlns:ns2="207106f2-47af-4116-90d4-7767ac15ee3e" xmlns:ns3="7666d860-393b-4f32-acf6-83fa9a0a2f69" targetNamespace="http://schemas.microsoft.com/office/2006/metadata/properties" ma:root="true" ma:fieldsID="32905b253e5251f5c773ce25664a116c" ns2:_="" ns3:_="">
    <xsd:import namespace="207106f2-47af-4116-90d4-7767ac15ee3e"/>
    <xsd:import namespace="7666d860-393b-4f32-acf6-83fa9a0a2f6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7106f2-47af-4116-90d4-7767ac15ee3e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66d860-393b-4f32-acf6-83fa9a0a2f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4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460DE32-C4FA-4484-8BEF-420255627952}">
  <ds:schemaRefs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purl.org/dc/terms/"/>
    <ds:schemaRef ds:uri="http://schemas.microsoft.com/office/2006/metadata/properties"/>
    <ds:schemaRef ds:uri="7666d860-393b-4f32-acf6-83fa9a0a2f69"/>
    <ds:schemaRef ds:uri="207106f2-47af-4116-90d4-7767ac15ee3e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A32F307-61C8-4B96-ADEE-F90E261612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07106f2-47af-4116-90d4-7767ac15ee3e"/>
    <ds:schemaRef ds:uri="7666d860-393b-4f32-acf6-83fa9a0a2f6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751FD7A-BF0E-45FE-A499-A2A4910F7C5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pt_template_2021</Template>
  <TotalTime>0</TotalTime>
  <Words>702</Words>
  <Application>Microsoft Office PowerPoint</Application>
  <PresentationFormat>Breedbeeld</PresentationFormat>
  <Paragraphs>184</Paragraphs>
  <Slides>22</Slides>
  <Notes>8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7</vt:i4>
      </vt:variant>
      <vt:variant>
        <vt:lpstr>Thema</vt:lpstr>
      </vt:variant>
      <vt:variant>
        <vt:i4>1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2</vt:i4>
      </vt:variant>
    </vt:vector>
  </HeadingPairs>
  <TitlesOfParts>
    <vt:vector size="41" baseType="lpstr">
      <vt:lpstr>Arial</vt:lpstr>
      <vt:lpstr>Calibri</vt:lpstr>
      <vt:lpstr>Century Gothic</vt:lpstr>
      <vt:lpstr>Open Sans</vt:lpstr>
      <vt:lpstr>Open Sans Semibold</vt:lpstr>
      <vt:lpstr>Segoe UI</vt:lpstr>
      <vt:lpstr>Wingdings</vt:lpstr>
      <vt:lpstr>GPT</vt:lpstr>
      <vt:lpstr>1_White</vt:lpstr>
      <vt:lpstr>White</vt:lpstr>
      <vt:lpstr>5_White</vt:lpstr>
      <vt:lpstr>2_White</vt:lpstr>
      <vt:lpstr>3_White</vt:lpstr>
      <vt:lpstr>1_GPT</vt:lpstr>
      <vt:lpstr>Office Theme</vt:lpstr>
      <vt:lpstr>2_GPT</vt:lpstr>
      <vt:lpstr>3_GPT</vt:lpstr>
      <vt:lpstr>4_GPT</vt:lpstr>
      <vt:lpstr>think-cell Slide</vt:lpstr>
      <vt:lpstr>Tech@venture Singapore Doing business in Singapore</vt:lpstr>
      <vt:lpstr>Agenda</vt:lpstr>
      <vt:lpstr>PowerPoint-presentatie</vt:lpstr>
      <vt:lpstr>Nallian</vt:lpstr>
      <vt:lpstr>PowerPoint-presentatie</vt:lpstr>
      <vt:lpstr>A clear mission</vt:lpstr>
      <vt:lpstr>The Traditional Air Cargo Industry</vt:lpstr>
      <vt:lpstr>PowerPoint-presentatie</vt:lpstr>
      <vt:lpstr>Integrators manage the logistics chain  how can the traditional cargo industry learn from this?</vt:lpstr>
      <vt:lpstr>To an Intelligent Air Cargo Supply Chain </vt:lpstr>
      <vt:lpstr>PowerPoint-presentatie</vt:lpstr>
      <vt:lpstr>Some of the amazing cargo communities we’re working with</vt:lpstr>
      <vt:lpstr>Nallian Product offering</vt:lpstr>
      <vt:lpstr>The Nallian Singapore story</vt:lpstr>
      <vt:lpstr>Doing business in Singapore</vt:lpstr>
      <vt:lpstr>PowerPoint-presentatie</vt:lpstr>
      <vt:lpstr>Singapore Business environment / Government</vt:lpstr>
      <vt:lpstr>Singapore Business environment / Government</vt:lpstr>
      <vt:lpstr>PowerPoint-presentatie</vt:lpstr>
      <vt:lpstr>Saving/Losing Face</vt:lpstr>
      <vt:lpstr>Q&amp;A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ke Aerts</dc:creator>
  <cp:lastModifiedBy>Lien Vanreusel</cp:lastModifiedBy>
  <cp:revision>34</cp:revision>
  <cp:lastPrinted>2019-03-10T10:55:43Z</cp:lastPrinted>
  <dcterms:created xsi:type="dcterms:W3CDTF">2021-11-05T15:28:36Z</dcterms:created>
  <dcterms:modified xsi:type="dcterms:W3CDTF">2023-05-18T09:34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372F2DA3CEB7459E746293097D2AF9</vt:lpwstr>
  </property>
</Properties>
</file>